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6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ngesInfos/changesInfo1.xml" ContentType="application/vnd.ms-powerpoint.changesinfo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6789" r:id="rId1"/>
    <p:sldMasterId id="2147486790" r:id="rId2"/>
    <p:sldMasterId id="2147486816" r:id="rId3"/>
    <p:sldMasterId id="2147486830" r:id="rId4"/>
    <p:sldMasterId id="2147486842" r:id="rId5"/>
    <p:sldMasterId id="2147486854" r:id="rId6"/>
  </p:sldMasterIdLst>
  <p:notesMasterIdLst>
    <p:notesMasterId r:id="rId42"/>
  </p:notesMasterIdLst>
  <p:handoutMasterIdLst>
    <p:handoutMasterId r:id="rId43"/>
  </p:handoutMasterIdLst>
  <p:sldIdLst>
    <p:sldId id="2634" r:id="rId7"/>
    <p:sldId id="2738" r:id="rId8"/>
    <p:sldId id="2756" r:id="rId9"/>
    <p:sldId id="2741" r:id="rId10"/>
    <p:sldId id="2742" r:id="rId11"/>
    <p:sldId id="2744" r:id="rId12"/>
    <p:sldId id="2745" r:id="rId13"/>
    <p:sldId id="2747" r:id="rId14"/>
    <p:sldId id="2746" r:id="rId15"/>
    <p:sldId id="2748" r:id="rId16"/>
    <p:sldId id="2749" r:id="rId17"/>
    <p:sldId id="2750" r:id="rId18"/>
    <p:sldId id="2752" r:id="rId19"/>
    <p:sldId id="2753" r:id="rId20"/>
    <p:sldId id="2754" r:id="rId21"/>
    <p:sldId id="2755" r:id="rId22"/>
    <p:sldId id="2757" r:id="rId23"/>
    <p:sldId id="2758" r:id="rId24"/>
    <p:sldId id="2759" r:id="rId25"/>
    <p:sldId id="2760" r:id="rId26"/>
    <p:sldId id="2761" r:id="rId27"/>
    <p:sldId id="2762" r:id="rId28"/>
    <p:sldId id="2763" r:id="rId29"/>
    <p:sldId id="2764" r:id="rId30"/>
    <p:sldId id="2765" r:id="rId31"/>
    <p:sldId id="2766" r:id="rId32"/>
    <p:sldId id="2767" r:id="rId33"/>
    <p:sldId id="2768" r:id="rId34"/>
    <p:sldId id="2769" r:id="rId35"/>
    <p:sldId id="2770" r:id="rId36"/>
    <p:sldId id="2771" r:id="rId37"/>
    <p:sldId id="2772" r:id="rId38"/>
    <p:sldId id="2773" r:id="rId39"/>
    <p:sldId id="2774" r:id="rId40"/>
    <p:sldId id="2683" r:id="rId41"/>
  </p:sldIdLst>
  <p:sldSz cx="11522075" cy="6480175"/>
  <p:notesSz cx="6797675" cy="9926638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42">
          <p15:clr>
            <a:srgbClr val="A4A3A4"/>
          </p15:clr>
        </p15:guide>
        <p15:guide id="2" pos="363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Леонид Попов" initials="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browse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C6E51"/>
    <a:srgbClr val="FFFF99"/>
    <a:srgbClr val="FFFFDB"/>
    <a:srgbClr val="9C9CDF"/>
    <a:srgbClr val="FFFFBE"/>
    <a:srgbClr val="FFC000"/>
    <a:srgbClr val="BA3A3B"/>
    <a:srgbClr val="F9E383"/>
    <a:srgbClr val="FF9B08"/>
    <a:srgbClr val="92D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DA48A03-3131-4F2F-A306-07301C63E802}" v="297" dt="2020-10-25T17:48:30.42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160" autoAdjust="0"/>
    <p:restoredTop sz="88167" autoAdjust="0"/>
  </p:normalViewPr>
  <p:slideViewPr>
    <p:cSldViewPr>
      <p:cViewPr varScale="1">
        <p:scale>
          <a:sx n="122" d="100"/>
          <a:sy n="122" d="100"/>
        </p:scale>
        <p:origin x="456" y="102"/>
      </p:cViewPr>
      <p:guideLst>
        <p:guide orient="horz" pos="2042"/>
        <p:guide pos="363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77" d="100"/>
          <a:sy n="77" d="100"/>
        </p:scale>
        <p:origin x="4002" y="114"/>
      </p:cViewPr>
      <p:guideLst>
        <p:guide orient="horz" pos="3128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notesMaster" Target="notesMasters/notesMaster1.xml"/><Relationship Id="rId47" Type="http://schemas.openxmlformats.org/officeDocument/2006/relationships/theme" Target="theme/theme1.xml"/><Relationship Id="rId50" Type="http://schemas.microsoft.com/office/2016/11/relationships/changesInfo" Target="changesInfos/changesInfo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slide" Target="slides/slide35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microsoft.com/office/2015/10/relationships/revisionInfo" Target="revisionInfo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handoutMaster" Target="handoutMasters/handoutMaster1.xml"/><Relationship Id="rId48" Type="http://schemas.openxmlformats.org/officeDocument/2006/relationships/tableStyles" Target="tableStyles.xml"/><Relationship Id="rId8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Леонид Попов" userId="cc02b5965c9bae3b" providerId="LiveId" clId="{FDA48A03-3131-4F2F-A306-07301C63E802}"/>
    <pc:docChg chg="undo custSel addSld delSld modSld sldOrd">
      <pc:chgData name="Леонид Попов" userId="cc02b5965c9bae3b" providerId="LiveId" clId="{FDA48A03-3131-4F2F-A306-07301C63E802}" dt="2020-10-25T18:56:52.735" v="22636" actId="20577"/>
      <pc:docMkLst>
        <pc:docMk/>
      </pc:docMkLst>
      <pc:sldChg chg="modNotes">
        <pc:chgData name="Леонид Попов" userId="cc02b5965c9bae3b" providerId="LiveId" clId="{FDA48A03-3131-4F2F-A306-07301C63E802}" dt="2020-10-24T15:12:32.016" v="9479" actId="1076"/>
        <pc:sldMkLst>
          <pc:docMk/>
          <pc:sldMk cId="0" sldId="2634"/>
        </pc:sldMkLst>
      </pc:sldChg>
      <pc:sldChg chg="modSp mod modNotes modNotesTx">
        <pc:chgData name="Леонид Попов" userId="cc02b5965c9bae3b" providerId="LiveId" clId="{FDA48A03-3131-4F2F-A306-07301C63E802}" dt="2020-10-24T15:14:17.521" v="9513" actId="14100"/>
        <pc:sldMkLst>
          <pc:docMk/>
          <pc:sldMk cId="0" sldId="2662"/>
        </pc:sldMkLst>
        <pc:spChg chg="mod">
          <ac:chgData name="Леонид Попов" userId="cc02b5965c9bae3b" providerId="LiveId" clId="{FDA48A03-3131-4F2F-A306-07301C63E802}" dt="2020-10-24T11:15:51.954" v="177" actId="113"/>
          <ac:spMkLst>
            <pc:docMk/>
            <pc:sldMk cId="0" sldId="2662"/>
            <ac:spMk id="3" creationId="{00000000-0000-0000-0000-000000000000}"/>
          </ac:spMkLst>
        </pc:spChg>
      </pc:sldChg>
      <pc:sldChg chg="modSp mod ord modNotes modNotesTx">
        <pc:chgData name="Леонид Попов" userId="cc02b5965c9bae3b" providerId="LiveId" clId="{FDA48A03-3131-4F2F-A306-07301C63E802}" dt="2020-10-24T15:17:13.825" v="9564" actId="403"/>
        <pc:sldMkLst>
          <pc:docMk/>
          <pc:sldMk cId="1035472374" sldId="2663"/>
        </pc:sldMkLst>
        <pc:spChg chg="mod">
          <ac:chgData name="Леонид Попов" userId="cc02b5965c9bae3b" providerId="LiveId" clId="{FDA48A03-3131-4F2F-A306-07301C63E802}" dt="2020-10-24T11:35:16.772" v="1703" actId="20577"/>
          <ac:spMkLst>
            <pc:docMk/>
            <pc:sldMk cId="1035472374" sldId="2663"/>
            <ac:spMk id="3" creationId="{00000000-0000-0000-0000-000000000000}"/>
          </ac:spMkLst>
        </pc:spChg>
      </pc:sldChg>
      <pc:sldChg chg="addSp modSp mod ord modNotes modNotesTx">
        <pc:chgData name="Леонид Попов" userId="cc02b5965c9bae3b" providerId="LiveId" clId="{FDA48A03-3131-4F2F-A306-07301C63E802}" dt="2020-10-24T15:16:42.225" v="9558" actId="403"/>
        <pc:sldMkLst>
          <pc:docMk/>
          <pc:sldMk cId="1413424359" sldId="2665"/>
        </pc:sldMkLst>
        <pc:spChg chg="mod">
          <ac:chgData name="Леонид Попов" userId="cc02b5965c9bae3b" providerId="LiveId" clId="{FDA48A03-3131-4F2F-A306-07301C63E802}" dt="2020-10-24T13:18:19.886" v="4422" actId="113"/>
          <ac:spMkLst>
            <pc:docMk/>
            <pc:sldMk cId="1413424359" sldId="2665"/>
            <ac:spMk id="3" creationId="{00000000-0000-0000-0000-000000000000}"/>
          </ac:spMkLst>
        </pc:spChg>
        <pc:spChg chg="mod">
          <ac:chgData name="Леонид Попов" userId="cc02b5965c9bae3b" providerId="LiveId" clId="{FDA48A03-3131-4F2F-A306-07301C63E802}" dt="2020-10-24T13:38:05.590" v="6125" actId="164"/>
          <ac:spMkLst>
            <pc:docMk/>
            <pc:sldMk cId="1413424359" sldId="2665"/>
            <ac:spMk id="6" creationId="{00000000-0000-0000-0000-000000000000}"/>
          </ac:spMkLst>
        </pc:spChg>
        <pc:spChg chg="mod">
          <ac:chgData name="Леонид Попов" userId="cc02b5965c9bae3b" providerId="LiveId" clId="{FDA48A03-3131-4F2F-A306-07301C63E802}" dt="2020-10-24T13:37:03.880" v="6115" actId="207"/>
          <ac:spMkLst>
            <pc:docMk/>
            <pc:sldMk cId="1413424359" sldId="2665"/>
            <ac:spMk id="32" creationId="{00000000-0000-0000-0000-000000000000}"/>
          </ac:spMkLst>
        </pc:spChg>
        <pc:grpChg chg="add mod">
          <ac:chgData name="Леонид Попов" userId="cc02b5965c9bae3b" providerId="LiveId" clId="{FDA48A03-3131-4F2F-A306-07301C63E802}" dt="2020-10-24T13:38:10.117" v="6129" actId="1037"/>
          <ac:grpSpMkLst>
            <pc:docMk/>
            <pc:sldMk cId="1413424359" sldId="2665"/>
            <ac:grpSpMk id="11" creationId="{993EF361-5862-4DB3-94A4-018752D86F8D}"/>
          </ac:grpSpMkLst>
        </pc:grpChg>
        <pc:cxnChg chg="add mod">
          <ac:chgData name="Леонид Попов" userId="cc02b5965c9bae3b" providerId="LiveId" clId="{FDA48A03-3131-4F2F-A306-07301C63E802}" dt="2020-10-24T13:38:05.590" v="6125" actId="164"/>
          <ac:cxnSpMkLst>
            <pc:docMk/>
            <pc:sldMk cId="1413424359" sldId="2665"/>
            <ac:cxnSpMk id="8" creationId="{44B3C538-5290-466C-BA24-707F60E9A0AB}"/>
          </ac:cxnSpMkLst>
        </pc:cxnChg>
        <pc:cxnChg chg="add mod">
          <ac:chgData name="Леонид Попов" userId="cc02b5965c9bae3b" providerId="LiveId" clId="{FDA48A03-3131-4F2F-A306-07301C63E802}" dt="2020-10-24T13:38:05.590" v="6125" actId="164"/>
          <ac:cxnSpMkLst>
            <pc:docMk/>
            <pc:sldMk cId="1413424359" sldId="2665"/>
            <ac:cxnSpMk id="35" creationId="{D34AD776-1AFF-428D-BFDB-393FF7A05FE9}"/>
          </ac:cxnSpMkLst>
        </pc:cxnChg>
      </pc:sldChg>
      <pc:sldChg chg="modSp mod modNotes modNotesTx">
        <pc:chgData name="Леонид Попов" userId="cc02b5965c9bae3b" providerId="LiveId" clId="{FDA48A03-3131-4F2F-A306-07301C63E802}" dt="2020-10-24T15:17:29.734" v="9568" actId="14100"/>
        <pc:sldMkLst>
          <pc:docMk/>
          <pc:sldMk cId="1645717629" sldId="2668"/>
        </pc:sldMkLst>
        <pc:spChg chg="mod">
          <ac:chgData name="Леонид Попов" userId="cc02b5965c9bae3b" providerId="LiveId" clId="{FDA48A03-3131-4F2F-A306-07301C63E802}" dt="2020-10-24T13:20:05.428" v="4442" actId="6549"/>
          <ac:spMkLst>
            <pc:docMk/>
            <pc:sldMk cId="1645717629" sldId="2668"/>
            <ac:spMk id="3" creationId="{00000000-0000-0000-0000-000000000000}"/>
          </ac:spMkLst>
        </pc:spChg>
        <pc:spChg chg="mod">
          <ac:chgData name="Леонид Попов" userId="cc02b5965c9bae3b" providerId="LiveId" clId="{FDA48A03-3131-4F2F-A306-07301C63E802}" dt="2020-10-24T13:32:49.045" v="5593" actId="6549"/>
          <ac:spMkLst>
            <pc:docMk/>
            <pc:sldMk cId="1645717629" sldId="2668"/>
            <ac:spMk id="66" creationId="{00000000-0000-0000-0000-000000000000}"/>
          </ac:spMkLst>
        </pc:spChg>
      </pc:sldChg>
      <pc:sldChg chg="modSp mod modNotes modNotesTx">
        <pc:chgData name="Леонид Попов" userId="cc02b5965c9bae3b" providerId="LiveId" clId="{FDA48A03-3131-4F2F-A306-07301C63E802}" dt="2020-10-24T15:17:51.317" v="9576" actId="14100"/>
        <pc:sldMkLst>
          <pc:docMk/>
          <pc:sldMk cId="541607132" sldId="2669"/>
        </pc:sldMkLst>
        <pc:spChg chg="mod">
          <ac:chgData name="Леонид Попов" userId="cc02b5965c9bae3b" providerId="LiveId" clId="{FDA48A03-3131-4F2F-A306-07301C63E802}" dt="2020-10-24T13:36:06.273" v="6111" actId="113"/>
          <ac:spMkLst>
            <pc:docMk/>
            <pc:sldMk cId="541607132" sldId="2669"/>
            <ac:spMk id="3" creationId="{00000000-0000-0000-0000-000000000000}"/>
          </ac:spMkLst>
        </pc:spChg>
      </pc:sldChg>
      <pc:sldChg chg="modNotes modNotesTx">
        <pc:chgData name="Леонид Попов" userId="cc02b5965c9bae3b" providerId="LiveId" clId="{FDA48A03-3131-4F2F-A306-07301C63E802}" dt="2020-10-24T15:17:05.885" v="9563" actId="403"/>
        <pc:sldMkLst>
          <pc:docMk/>
          <pc:sldMk cId="210743404" sldId="2673"/>
        </pc:sldMkLst>
      </pc:sldChg>
      <pc:sldChg chg="addSp modSp mod modNotes modNotesTx">
        <pc:chgData name="Леонид Попов" userId="cc02b5965c9bae3b" providerId="LiveId" clId="{FDA48A03-3131-4F2F-A306-07301C63E802}" dt="2020-10-25T12:30:12.224" v="10426"/>
        <pc:sldMkLst>
          <pc:docMk/>
          <pc:sldMk cId="2094818681" sldId="2676"/>
        </pc:sldMkLst>
        <pc:spChg chg="mod">
          <ac:chgData name="Леонид Попов" userId="cc02b5965c9bae3b" providerId="LiveId" clId="{FDA48A03-3131-4F2F-A306-07301C63E802}" dt="2020-10-24T10:57:14.223" v="123" actId="20577"/>
          <ac:spMkLst>
            <pc:docMk/>
            <pc:sldMk cId="2094818681" sldId="2676"/>
            <ac:spMk id="2" creationId="{00000000-0000-0000-0000-000000000000}"/>
          </ac:spMkLst>
        </pc:spChg>
        <pc:picChg chg="add mod">
          <ac:chgData name="Леонид Попов" userId="cc02b5965c9bae3b" providerId="LiveId" clId="{FDA48A03-3131-4F2F-A306-07301C63E802}" dt="2020-10-24T14:57:39.146" v="9470" actId="14100"/>
          <ac:picMkLst>
            <pc:docMk/>
            <pc:sldMk cId="2094818681" sldId="2676"/>
            <ac:picMk id="4" creationId="{67B514D7-768C-449D-8BA8-766ECE030991}"/>
          </ac:picMkLst>
        </pc:picChg>
      </pc:sldChg>
      <pc:sldChg chg="modSp mod modNotes modNotesTx">
        <pc:chgData name="Леонид Попов" userId="cc02b5965c9bae3b" providerId="LiveId" clId="{FDA48A03-3131-4F2F-A306-07301C63E802}" dt="2020-10-24T15:16:56.035" v="9561" actId="403"/>
        <pc:sldMkLst>
          <pc:docMk/>
          <pc:sldMk cId="2290269285" sldId="2677"/>
        </pc:sldMkLst>
        <pc:spChg chg="mod">
          <ac:chgData name="Леонид Попов" userId="cc02b5965c9bae3b" providerId="LiveId" clId="{FDA48A03-3131-4F2F-A306-07301C63E802}" dt="2020-10-24T11:24:22.990" v="689" actId="113"/>
          <ac:spMkLst>
            <pc:docMk/>
            <pc:sldMk cId="2290269285" sldId="2677"/>
            <ac:spMk id="3" creationId="{00000000-0000-0000-0000-000000000000}"/>
          </ac:spMkLst>
        </pc:spChg>
      </pc:sldChg>
      <pc:sldChg chg="delSp modSp mod ord delAnim modAnim modNotes modNotesTx">
        <pc:chgData name="Леонид Попов" userId="cc02b5965c9bae3b" providerId="LiveId" clId="{FDA48A03-3131-4F2F-A306-07301C63E802}" dt="2020-10-24T15:15:20.142" v="9534" actId="1076"/>
        <pc:sldMkLst>
          <pc:docMk/>
          <pc:sldMk cId="1692574993" sldId="2681"/>
        </pc:sldMkLst>
        <pc:spChg chg="mod">
          <ac:chgData name="Леонид Попов" userId="cc02b5965c9bae3b" providerId="LiveId" clId="{FDA48A03-3131-4F2F-A306-07301C63E802}" dt="2020-10-24T13:11:57.609" v="4397" actId="113"/>
          <ac:spMkLst>
            <pc:docMk/>
            <pc:sldMk cId="1692574993" sldId="2681"/>
            <ac:spMk id="3" creationId="{00000000-0000-0000-0000-000000000000}"/>
          </ac:spMkLst>
        </pc:spChg>
        <pc:picChg chg="mod">
          <ac:chgData name="Леонид Попов" userId="cc02b5965c9bae3b" providerId="LiveId" clId="{FDA48A03-3131-4F2F-A306-07301C63E802}" dt="2020-10-24T13:15:13.025" v="4418" actId="1038"/>
          <ac:picMkLst>
            <pc:docMk/>
            <pc:sldMk cId="1692574993" sldId="2681"/>
            <ac:picMk id="2" creationId="{00000000-0000-0000-0000-000000000000}"/>
          </ac:picMkLst>
        </pc:picChg>
        <pc:picChg chg="del">
          <ac:chgData name="Леонид Попов" userId="cc02b5965c9bae3b" providerId="LiveId" clId="{FDA48A03-3131-4F2F-A306-07301C63E802}" dt="2020-10-24T13:15:07.792" v="4403" actId="478"/>
          <ac:picMkLst>
            <pc:docMk/>
            <pc:sldMk cId="1692574993" sldId="2681"/>
            <ac:picMk id="5" creationId="{00000000-0000-0000-0000-000000000000}"/>
          </ac:picMkLst>
        </pc:picChg>
      </pc:sldChg>
      <pc:sldChg chg="modSp mod ord modNotes">
        <pc:chgData name="Леонид Попов" userId="cc02b5965c9bae3b" providerId="LiveId" clId="{FDA48A03-3131-4F2F-A306-07301C63E802}" dt="2020-10-24T15:16:50.387" v="9560" actId="403"/>
        <pc:sldMkLst>
          <pc:docMk/>
          <pc:sldMk cId="1215263545" sldId="2686"/>
        </pc:sldMkLst>
        <pc:spChg chg="mod">
          <ac:chgData name="Леонид Попов" userId="cc02b5965c9bae3b" providerId="LiveId" clId="{FDA48A03-3131-4F2F-A306-07301C63E802}" dt="2020-10-24T13:18:11.710" v="4420" actId="113"/>
          <ac:spMkLst>
            <pc:docMk/>
            <pc:sldMk cId="1215263545" sldId="2686"/>
            <ac:spMk id="8" creationId="{00000000-0000-0000-0000-000000000000}"/>
          </ac:spMkLst>
        </pc:spChg>
      </pc:sldChg>
      <pc:sldChg chg="modSp mod ord modNotes modNotesTx">
        <pc:chgData name="Леонид Попов" userId="cc02b5965c9bae3b" providerId="LiveId" clId="{FDA48A03-3131-4F2F-A306-07301C63E802}" dt="2020-10-24T15:15:51.730" v="9545" actId="403"/>
        <pc:sldMkLst>
          <pc:docMk/>
          <pc:sldMk cId="991814917" sldId="2689"/>
        </pc:sldMkLst>
        <pc:spChg chg="mod">
          <ac:chgData name="Леонид Попов" userId="cc02b5965c9bae3b" providerId="LiveId" clId="{FDA48A03-3131-4F2F-A306-07301C63E802}" dt="2020-10-24T13:18:29.696" v="4424" actId="207"/>
          <ac:spMkLst>
            <pc:docMk/>
            <pc:sldMk cId="991814917" sldId="2689"/>
            <ac:spMk id="8" creationId="{00000000-0000-0000-0000-000000000000}"/>
          </ac:spMkLst>
        </pc:spChg>
      </pc:sldChg>
      <pc:sldChg chg="addSp delSp modSp mod modNotes modNotesTx">
        <pc:chgData name="Леонид Попов" userId="cc02b5965c9bae3b" providerId="LiveId" clId="{FDA48A03-3131-4F2F-A306-07301C63E802}" dt="2020-10-24T15:17:39.248" v="9572" actId="14100"/>
        <pc:sldMkLst>
          <pc:docMk/>
          <pc:sldMk cId="3022910651" sldId="2690"/>
        </pc:sldMkLst>
        <pc:spChg chg="mod">
          <ac:chgData name="Леонид Попов" userId="cc02b5965c9bae3b" providerId="LiveId" clId="{FDA48A03-3131-4F2F-A306-07301C63E802}" dt="2020-10-24T13:19:19.598" v="4428" actId="113"/>
          <ac:spMkLst>
            <pc:docMk/>
            <pc:sldMk cId="3022910651" sldId="2690"/>
            <ac:spMk id="3" creationId="{00000000-0000-0000-0000-000000000000}"/>
          </ac:spMkLst>
        </pc:spChg>
        <pc:spChg chg="mod">
          <ac:chgData name="Леонид Попов" userId="cc02b5965c9bae3b" providerId="LiveId" clId="{FDA48A03-3131-4F2F-A306-07301C63E802}" dt="2020-10-24T13:28:48.692" v="5016" actId="1036"/>
          <ac:spMkLst>
            <pc:docMk/>
            <pc:sldMk cId="3022910651" sldId="2690"/>
            <ac:spMk id="9" creationId="{00000000-0000-0000-0000-000000000000}"/>
          </ac:spMkLst>
        </pc:spChg>
        <pc:spChg chg="add mod">
          <ac:chgData name="Леонид Попов" userId="cc02b5965c9bae3b" providerId="LiveId" clId="{FDA48A03-3131-4F2F-A306-07301C63E802}" dt="2020-10-24T13:21:59.242" v="4469" actId="1038"/>
          <ac:spMkLst>
            <pc:docMk/>
            <pc:sldMk cId="3022910651" sldId="2690"/>
            <ac:spMk id="15" creationId="{C7940F41-F359-4D96-B2E9-ED77BCF886A0}"/>
          </ac:spMkLst>
        </pc:spChg>
        <pc:grpChg chg="mod">
          <ac:chgData name="Леонид Попов" userId="cc02b5965c9bae3b" providerId="LiveId" clId="{FDA48A03-3131-4F2F-A306-07301C63E802}" dt="2020-10-24T13:21:54.354" v="4464" actId="1038"/>
          <ac:grpSpMkLst>
            <pc:docMk/>
            <pc:sldMk cId="3022910651" sldId="2690"/>
            <ac:grpSpMk id="10" creationId="{00000000-0000-0000-0000-000000000000}"/>
          </ac:grpSpMkLst>
        </pc:grpChg>
        <pc:graphicFrameChg chg="mod">
          <ac:chgData name="Леонид Попов" userId="cc02b5965c9bae3b" providerId="LiveId" clId="{FDA48A03-3131-4F2F-A306-07301C63E802}" dt="2020-10-24T13:21:54.354" v="4464" actId="1038"/>
          <ac:graphicFrameMkLst>
            <pc:docMk/>
            <pc:sldMk cId="3022910651" sldId="2690"/>
            <ac:graphicFrameMk id="14" creationId="{00000000-0000-0000-0000-000000000000}"/>
          </ac:graphicFrameMkLst>
        </pc:graphicFrameChg>
        <pc:picChg chg="add del">
          <ac:chgData name="Леонид Попов" userId="cc02b5965c9bae3b" providerId="LiveId" clId="{FDA48A03-3131-4F2F-A306-07301C63E802}" dt="2020-10-24T13:25:02.855" v="4865" actId="478"/>
          <ac:picMkLst>
            <pc:docMk/>
            <pc:sldMk cId="3022910651" sldId="2690"/>
            <ac:picMk id="2" creationId="{216D3AF6-F983-4154-A000-07A3B8570651}"/>
          </ac:picMkLst>
        </pc:picChg>
      </pc:sldChg>
      <pc:sldChg chg="del">
        <pc:chgData name="Леонид Попов" userId="cc02b5965c9bae3b" providerId="LiveId" clId="{FDA48A03-3131-4F2F-A306-07301C63E802}" dt="2020-10-24T13:11:34.786" v="4395" actId="47"/>
        <pc:sldMkLst>
          <pc:docMk/>
          <pc:sldMk cId="3938146410" sldId="2692"/>
        </pc:sldMkLst>
      </pc:sldChg>
      <pc:sldChg chg="modSp mod ord modNotes">
        <pc:chgData name="Леонид Попов" userId="cc02b5965c9bae3b" providerId="LiveId" clId="{FDA48A03-3131-4F2F-A306-07301C63E802}" dt="2020-10-24T15:18:19.422" v="9609" actId="20577"/>
        <pc:sldMkLst>
          <pc:docMk/>
          <pc:sldMk cId="2001554719" sldId="2693"/>
        </pc:sldMkLst>
        <pc:spChg chg="mod">
          <ac:chgData name="Леонид Попов" userId="cc02b5965c9bae3b" providerId="LiveId" clId="{FDA48A03-3131-4F2F-A306-07301C63E802}" dt="2020-10-24T11:32:33.274" v="1584" actId="113"/>
          <ac:spMkLst>
            <pc:docMk/>
            <pc:sldMk cId="2001554719" sldId="2693"/>
            <ac:spMk id="13" creationId="{00000000-0000-0000-0000-000000000000}"/>
          </ac:spMkLst>
        </pc:spChg>
      </pc:sldChg>
      <pc:sldChg chg="add del">
        <pc:chgData name="Леонид Попов" userId="cc02b5965c9bae3b" providerId="LiveId" clId="{FDA48A03-3131-4F2F-A306-07301C63E802}" dt="2020-10-24T13:11:29.437" v="4394" actId="47"/>
        <pc:sldMkLst>
          <pc:docMk/>
          <pc:sldMk cId="987412111" sldId="2695"/>
        </pc:sldMkLst>
      </pc:sldChg>
      <pc:sldChg chg="del mod modShow">
        <pc:chgData name="Леонид Попов" userId="cc02b5965c9bae3b" providerId="LiveId" clId="{FDA48A03-3131-4F2F-A306-07301C63E802}" dt="2020-10-24T10:57:40.309" v="125" actId="2696"/>
        <pc:sldMkLst>
          <pc:docMk/>
          <pc:sldMk cId="2738634398" sldId="2695"/>
        </pc:sldMkLst>
      </pc:sldChg>
      <pc:sldChg chg="modSp del mod">
        <pc:chgData name="Леонид Попов" userId="cc02b5965c9bae3b" providerId="LiveId" clId="{FDA48A03-3131-4F2F-A306-07301C63E802}" dt="2020-10-24T13:11:00.448" v="4392" actId="2696"/>
        <pc:sldMkLst>
          <pc:docMk/>
          <pc:sldMk cId="2148891121" sldId="2697"/>
        </pc:sldMkLst>
        <pc:spChg chg="mod">
          <ac:chgData name="Леонид Попов" userId="cc02b5965c9bae3b" providerId="LiveId" clId="{FDA48A03-3131-4F2F-A306-07301C63E802}" dt="2020-10-24T13:10:29.673" v="4389" actId="207"/>
          <ac:spMkLst>
            <pc:docMk/>
            <pc:sldMk cId="2148891121" sldId="2697"/>
            <ac:spMk id="3" creationId="{00000000-0000-0000-0000-000000000000}"/>
          </ac:spMkLst>
        </pc:spChg>
      </pc:sldChg>
      <pc:sldChg chg="modSp add mod modNotes modNotesTx">
        <pc:chgData name="Леонид Попов" userId="cc02b5965c9bae3b" providerId="LiveId" clId="{FDA48A03-3131-4F2F-A306-07301C63E802}" dt="2020-10-24T15:18:40.118" v="9617" actId="1076"/>
        <pc:sldMkLst>
          <pc:docMk/>
          <pc:sldMk cId="3433940016" sldId="2697"/>
        </pc:sldMkLst>
        <pc:spChg chg="mod">
          <ac:chgData name="Леонид Попов" userId="cc02b5965c9bae3b" providerId="LiveId" clId="{FDA48A03-3131-4F2F-A306-07301C63E802}" dt="2020-10-24T13:36:11.197" v="6112" actId="113"/>
          <ac:spMkLst>
            <pc:docMk/>
            <pc:sldMk cId="3433940016" sldId="2697"/>
            <ac:spMk id="3" creationId="{00000000-0000-0000-0000-000000000000}"/>
          </ac:spMkLst>
        </pc:spChg>
      </pc:sldChg>
      <pc:sldChg chg="modSp del mod">
        <pc:chgData name="Леонид Попов" userId="cc02b5965c9bae3b" providerId="LiveId" clId="{FDA48A03-3131-4F2F-A306-07301C63E802}" dt="2020-10-24T13:11:00.448" v="4392" actId="2696"/>
        <pc:sldMkLst>
          <pc:docMk/>
          <pc:sldMk cId="273365197" sldId="2698"/>
        </pc:sldMkLst>
        <pc:spChg chg="mod">
          <ac:chgData name="Леонид Попов" userId="cc02b5965c9bae3b" providerId="LiveId" clId="{FDA48A03-3131-4F2F-A306-07301C63E802}" dt="2020-10-24T13:10:55.320" v="4391" actId="207"/>
          <ac:spMkLst>
            <pc:docMk/>
            <pc:sldMk cId="273365197" sldId="2698"/>
            <ac:spMk id="3" creationId="{00000000-0000-0000-0000-000000000000}"/>
          </ac:spMkLst>
        </pc:spChg>
      </pc:sldChg>
      <pc:sldChg chg="modSp add mod modNotes modNotesTx">
        <pc:chgData name="Леонид Попов" userId="cc02b5965c9bae3b" providerId="LiveId" clId="{FDA48A03-3131-4F2F-A306-07301C63E802}" dt="2020-10-24T15:18:50.943" v="9622" actId="14100"/>
        <pc:sldMkLst>
          <pc:docMk/>
          <pc:sldMk cId="1416072250" sldId="2698"/>
        </pc:sldMkLst>
        <pc:spChg chg="mod">
          <ac:chgData name="Леонид Попов" userId="cc02b5965c9bae3b" providerId="LiveId" clId="{FDA48A03-3131-4F2F-A306-07301C63E802}" dt="2020-10-24T13:36:28.114" v="6114" actId="113"/>
          <ac:spMkLst>
            <pc:docMk/>
            <pc:sldMk cId="1416072250" sldId="2698"/>
            <ac:spMk id="3" creationId="{00000000-0000-0000-0000-000000000000}"/>
          </ac:spMkLst>
        </pc:spChg>
      </pc:sldChg>
      <pc:sldChg chg="modSp add del mod">
        <pc:chgData name="Леонид Попов" userId="cc02b5965c9bae3b" providerId="LiveId" clId="{FDA48A03-3131-4F2F-A306-07301C63E802}" dt="2020-10-24T14:13:11.144" v="8762" actId="47"/>
        <pc:sldMkLst>
          <pc:docMk/>
          <pc:sldMk cId="405407821" sldId="2699"/>
        </pc:sldMkLst>
        <pc:spChg chg="mod">
          <ac:chgData name="Леонид Попов" userId="cc02b5965c9bae3b" providerId="LiveId" clId="{FDA48A03-3131-4F2F-A306-07301C63E802}" dt="2020-10-24T13:36:15.937" v="6113" actId="113"/>
          <ac:spMkLst>
            <pc:docMk/>
            <pc:sldMk cId="405407821" sldId="2699"/>
            <ac:spMk id="3" creationId="{00000000-0000-0000-0000-000000000000}"/>
          </ac:spMkLst>
        </pc:spChg>
      </pc:sldChg>
      <pc:sldChg chg="modSp del mod">
        <pc:chgData name="Леонид Попов" userId="cc02b5965c9bae3b" providerId="LiveId" clId="{FDA48A03-3131-4F2F-A306-07301C63E802}" dt="2020-10-24T13:11:00.448" v="4392" actId="2696"/>
        <pc:sldMkLst>
          <pc:docMk/>
          <pc:sldMk cId="3192914804" sldId="2699"/>
        </pc:sldMkLst>
        <pc:spChg chg="mod">
          <ac:chgData name="Леонид Попов" userId="cc02b5965c9bae3b" providerId="LiveId" clId="{FDA48A03-3131-4F2F-A306-07301C63E802}" dt="2020-10-24T13:10:40.934" v="4390" actId="207"/>
          <ac:spMkLst>
            <pc:docMk/>
            <pc:sldMk cId="3192914804" sldId="2699"/>
            <ac:spMk id="3" creationId="{00000000-0000-0000-0000-000000000000}"/>
          </ac:spMkLst>
        </pc:spChg>
      </pc:sldChg>
      <pc:sldChg chg="addSp modSp mod modNotesTx">
        <pc:chgData name="Леонид Попов" userId="cc02b5965c9bae3b" providerId="LiveId" clId="{FDA48A03-3131-4F2F-A306-07301C63E802}" dt="2020-10-25T17:41:22.193" v="21586" actId="1076"/>
        <pc:sldMkLst>
          <pc:docMk/>
          <pc:sldMk cId="3580722648" sldId="2701"/>
        </pc:sldMkLst>
        <pc:spChg chg="add mod">
          <ac:chgData name="Леонид Попов" userId="cc02b5965c9bae3b" providerId="LiveId" clId="{FDA48A03-3131-4F2F-A306-07301C63E802}" dt="2020-10-25T17:41:22.193" v="21586" actId="1076"/>
          <ac:spMkLst>
            <pc:docMk/>
            <pc:sldMk cId="3580722648" sldId="2701"/>
            <ac:spMk id="2" creationId="{76659AA5-706A-4F37-A8B2-77C9EC288F0D}"/>
          </ac:spMkLst>
        </pc:spChg>
        <pc:spChg chg="mod">
          <ac:chgData name="Леонид Попов" userId="cc02b5965c9bae3b" providerId="LiveId" clId="{FDA48A03-3131-4F2F-A306-07301C63E802}" dt="2020-10-24T17:03:05.415" v="9891" actId="113"/>
          <ac:spMkLst>
            <pc:docMk/>
            <pc:sldMk cId="3580722648" sldId="2701"/>
            <ac:spMk id="3" creationId="{00000000-0000-0000-0000-000000000000}"/>
          </ac:spMkLst>
        </pc:spChg>
      </pc:sldChg>
      <pc:sldChg chg="addSp delSp modSp mod modNotesTx">
        <pc:chgData name="Леонид Попов" userId="cc02b5965c9bae3b" providerId="LiveId" clId="{FDA48A03-3131-4F2F-A306-07301C63E802}" dt="2020-10-25T17:31:19.365" v="20389" actId="20577"/>
        <pc:sldMkLst>
          <pc:docMk/>
          <pc:sldMk cId="3774208345" sldId="2703"/>
        </pc:sldMkLst>
        <pc:spChg chg="mod">
          <ac:chgData name="Леонид Попов" userId="cc02b5965c9bae3b" providerId="LiveId" clId="{FDA48A03-3131-4F2F-A306-07301C63E802}" dt="2020-10-25T16:02:27.290" v="15206" actId="20577"/>
          <ac:spMkLst>
            <pc:docMk/>
            <pc:sldMk cId="3774208345" sldId="2703"/>
            <ac:spMk id="3" creationId="{00000000-0000-0000-0000-000000000000}"/>
          </ac:spMkLst>
        </pc:spChg>
        <pc:spChg chg="mod">
          <ac:chgData name="Леонид Попов" userId="cc02b5965c9bae3b" providerId="LiveId" clId="{FDA48A03-3131-4F2F-A306-07301C63E802}" dt="2020-10-25T17:22:26.743" v="19512" actId="14100"/>
          <ac:spMkLst>
            <pc:docMk/>
            <pc:sldMk cId="3774208345" sldId="2703"/>
            <ac:spMk id="12" creationId="{7D7F1566-BE38-4866-8FD8-7AB737C8C783}"/>
          </ac:spMkLst>
        </pc:spChg>
        <pc:spChg chg="mod">
          <ac:chgData name="Леонид Попов" userId="cc02b5965c9bae3b" providerId="LiveId" clId="{FDA48A03-3131-4F2F-A306-07301C63E802}" dt="2020-10-25T17:23:15.422" v="19560" actId="113"/>
          <ac:spMkLst>
            <pc:docMk/>
            <pc:sldMk cId="3774208345" sldId="2703"/>
            <ac:spMk id="13" creationId="{D820ADDD-94DD-4C27-97BC-68C0BDDB8871}"/>
          </ac:spMkLst>
        </pc:spChg>
        <pc:grpChg chg="del">
          <ac:chgData name="Леонид Попов" userId="cc02b5965c9bae3b" providerId="LiveId" clId="{FDA48A03-3131-4F2F-A306-07301C63E802}" dt="2020-10-25T16:02:32.349" v="15207" actId="21"/>
          <ac:grpSpMkLst>
            <pc:docMk/>
            <pc:sldMk cId="3774208345" sldId="2703"/>
            <ac:grpSpMk id="4" creationId="{00000000-0000-0000-0000-000000000000}"/>
          </ac:grpSpMkLst>
        </pc:grpChg>
        <pc:grpChg chg="add mod">
          <ac:chgData name="Леонид Попов" userId="cc02b5965c9bae3b" providerId="LiveId" clId="{FDA48A03-3131-4F2F-A306-07301C63E802}" dt="2020-10-25T17:23:36.536" v="19563" actId="14100"/>
          <ac:grpSpMkLst>
            <pc:docMk/>
            <pc:sldMk cId="3774208345" sldId="2703"/>
            <ac:grpSpMk id="11" creationId="{E1E9B8CF-9084-4ACF-A52C-3D97A9A096F4}"/>
          </ac:grpSpMkLst>
        </pc:grpChg>
      </pc:sldChg>
      <pc:sldChg chg="modSp mod modNotesTx">
        <pc:chgData name="Леонид Попов" userId="cc02b5965c9bae3b" providerId="LiveId" clId="{FDA48A03-3131-4F2F-A306-07301C63E802}" dt="2020-10-25T18:49:10.413" v="21927" actId="20577"/>
        <pc:sldMkLst>
          <pc:docMk/>
          <pc:sldMk cId="4293897562" sldId="2704"/>
        </pc:sldMkLst>
        <pc:spChg chg="mod">
          <ac:chgData name="Леонид Попов" userId="cc02b5965c9bae3b" providerId="LiveId" clId="{FDA48A03-3131-4F2F-A306-07301C63E802}" dt="2020-10-25T18:49:10.413" v="21927" actId="20577"/>
          <ac:spMkLst>
            <pc:docMk/>
            <pc:sldMk cId="4293897562" sldId="2704"/>
            <ac:spMk id="3" creationId="{00000000-0000-0000-0000-000000000000}"/>
          </ac:spMkLst>
        </pc:spChg>
      </pc:sldChg>
      <pc:sldChg chg="modSp mod modNotesTx">
        <pc:chgData name="Леонид Попов" userId="cc02b5965c9bae3b" providerId="LiveId" clId="{FDA48A03-3131-4F2F-A306-07301C63E802}" dt="2020-10-25T17:36:38.959" v="21214" actId="20577"/>
        <pc:sldMkLst>
          <pc:docMk/>
          <pc:sldMk cId="430624130" sldId="2706"/>
        </pc:sldMkLst>
        <pc:spChg chg="mod">
          <ac:chgData name="Леонид Попов" userId="cc02b5965c9bae3b" providerId="LiveId" clId="{FDA48A03-3131-4F2F-A306-07301C63E802}" dt="2020-10-24T17:11:45.995" v="10166" actId="6549"/>
          <ac:spMkLst>
            <pc:docMk/>
            <pc:sldMk cId="430624130" sldId="2706"/>
            <ac:spMk id="3" creationId="{00000000-0000-0000-0000-000000000000}"/>
          </ac:spMkLst>
        </pc:spChg>
      </pc:sldChg>
      <pc:sldChg chg="addSp delSp modSp mod modNotesTx">
        <pc:chgData name="Леонид Попов" userId="cc02b5965c9bae3b" providerId="LiveId" clId="{FDA48A03-3131-4F2F-A306-07301C63E802}" dt="2020-10-25T18:21:15.093" v="21909" actId="20577"/>
        <pc:sldMkLst>
          <pc:docMk/>
          <pc:sldMk cId="1252469487" sldId="2707"/>
        </pc:sldMkLst>
        <pc:spChg chg="add mod">
          <ac:chgData name="Леонид Попов" userId="cc02b5965c9bae3b" providerId="LiveId" clId="{FDA48A03-3131-4F2F-A306-07301C63E802}" dt="2020-10-24T16:41:37.715" v="9644" actId="20577"/>
          <ac:spMkLst>
            <pc:docMk/>
            <pc:sldMk cId="1252469487" sldId="2707"/>
            <ac:spMk id="2" creationId="{B8A0C461-5144-44C1-8CBD-F9D16E7B7C73}"/>
          </ac:spMkLst>
        </pc:spChg>
        <pc:spChg chg="mod">
          <ac:chgData name="Леонид Попов" userId="cc02b5965c9bae3b" providerId="LiveId" clId="{FDA48A03-3131-4F2F-A306-07301C63E802}" dt="2020-10-25T15:03:13.299" v="10777" actId="1035"/>
          <ac:spMkLst>
            <pc:docMk/>
            <pc:sldMk cId="1252469487" sldId="2707"/>
            <ac:spMk id="22" creationId="{96717622-F413-466F-B8A3-25F05C8ED758}"/>
          </ac:spMkLst>
        </pc:spChg>
        <pc:spChg chg="mod">
          <ac:chgData name="Леонид Попов" userId="cc02b5965c9bae3b" providerId="LiveId" clId="{FDA48A03-3131-4F2F-A306-07301C63E802}" dt="2020-10-24T17:10:22.091" v="10089" actId="404"/>
          <ac:spMkLst>
            <pc:docMk/>
            <pc:sldMk cId="1252469487" sldId="2707"/>
            <ac:spMk id="24" creationId="{AB6DC76A-025C-4C09-8DBA-2566533B5961}"/>
          </ac:spMkLst>
        </pc:spChg>
        <pc:spChg chg="mod">
          <ac:chgData name="Леонид Попов" userId="cc02b5965c9bae3b" providerId="LiveId" clId="{FDA48A03-3131-4F2F-A306-07301C63E802}" dt="2020-10-25T18:03:41.891" v="21762" actId="20577"/>
          <ac:spMkLst>
            <pc:docMk/>
            <pc:sldMk cId="1252469487" sldId="2707"/>
            <ac:spMk id="25" creationId="{0374BEAA-3DD1-444A-917D-3C2AB2D7A57D}"/>
          </ac:spMkLst>
        </pc:spChg>
        <pc:spChg chg="mod">
          <ac:chgData name="Леонид Попов" userId="cc02b5965c9bae3b" providerId="LiveId" clId="{FDA48A03-3131-4F2F-A306-07301C63E802}" dt="2020-10-25T15:03:13.299" v="10777" actId="1035"/>
          <ac:spMkLst>
            <pc:docMk/>
            <pc:sldMk cId="1252469487" sldId="2707"/>
            <ac:spMk id="26" creationId="{14613989-4458-4CF2-9C68-631027D229A2}"/>
          </ac:spMkLst>
        </pc:spChg>
        <pc:spChg chg="mod">
          <ac:chgData name="Леонид Попов" userId="cc02b5965c9bae3b" providerId="LiveId" clId="{FDA48A03-3131-4F2F-A306-07301C63E802}" dt="2020-10-25T18:04:33.723" v="21769" actId="14100"/>
          <ac:spMkLst>
            <pc:docMk/>
            <pc:sldMk cId="1252469487" sldId="2707"/>
            <ac:spMk id="28" creationId="{7410D8B0-1592-4D34-87D0-DF28C9E0D9FE}"/>
          </ac:spMkLst>
        </pc:spChg>
        <pc:spChg chg="mod">
          <ac:chgData name="Леонид Попов" userId="cc02b5965c9bae3b" providerId="LiveId" clId="{FDA48A03-3131-4F2F-A306-07301C63E802}" dt="2020-10-25T18:04:29.442" v="21768" actId="6549"/>
          <ac:spMkLst>
            <pc:docMk/>
            <pc:sldMk cId="1252469487" sldId="2707"/>
            <ac:spMk id="29" creationId="{6932870B-FCE3-4AB5-BF6C-A9AB33CA5ACC}"/>
          </ac:spMkLst>
        </pc:spChg>
        <pc:spChg chg="mod">
          <ac:chgData name="Леонид Попов" userId="cc02b5965c9bae3b" providerId="LiveId" clId="{FDA48A03-3131-4F2F-A306-07301C63E802}" dt="2020-10-25T15:03:13.299" v="10777" actId="1035"/>
          <ac:spMkLst>
            <pc:docMk/>
            <pc:sldMk cId="1252469487" sldId="2707"/>
            <ac:spMk id="30" creationId="{B9AA0B04-F18B-49CC-A226-F158AFE9CFAE}"/>
          </ac:spMkLst>
        </pc:spChg>
        <pc:spChg chg="mod">
          <ac:chgData name="Леонид Попов" userId="cc02b5965c9bae3b" providerId="LiveId" clId="{FDA48A03-3131-4F2F-A306-07301C63E802}" dt="2020-10-24T17:10:22.091" v="10089" actId="404"/>
          <ac:spMkLst>
            <pc:docMk/>
            <pc:sldMk cId="1252469487" sldId="2707"/>
            <ac:spMk id="32" creationId="{1A74ACAD-7B27-4608-B185-1AA2923B3FCF}"/>
          </ac:spMkLst>
        </pc:spChg>
        <pc:spChg chg="mod">
          <ac:chgData name="Леонид Попов" userId="cc02b5965c9bae3b" providerId="LiveId" clId="{FDA48A03-3131-4F2F-A306-07301C63E802}" dt="2020-10-25T18:21:15.093" v="21909" actId="20577"/>
          <ac:spMkLst>
            <pc:docMk/>
            <pc:sldMk cId="1252469487" sldId="2707"/>
            <ac:spMk id="33" creationId="{1B91BBAB-CDDE-4F8D-998F-ED2AA73B0947}"/>
          </ac:spMkLst>
        </pc:spChg>
        <pc:spChg chg="mod">
          <ac:chgData name="Леонид Попов" userId="cc02b5965c9bae3b" providerId="LiveId" clId="{FDA48A03-3131-4F2F-A306-07301C63E802}" dt="2020-10-25T15:03:13.299" v="10777" actId="1035"/>
          <ac:spMkLst>
            <pc:docMk/>
            <pc:sldMk cId="1252469487" sldId="2707"/>
            <ac:spMk id="34" creationId="{8DA1FED6-2DB0-45BC-A322-B5828F0F5E1E}"/>
          </ac:spMkLst>
        </pc:spChg>
        <pc:spChg chg="mod">
          <ac:chgData name="Леонид Попов" userId="cc02b5965c9bae3b" providerId="LiveId" clId="{FDA48A03-3131-4F2F-A306-07301C63E802}" dt="2020-10-25T18:04:37.378" v="21770" actId="14100"/>
          <ac:spMkLst>
            <pc:docMk/>
            <pc:sldMk cId="1252469487" sldId="2707"/>
            <ac:spMk id="36" creationId="{25321281-78AF-4760-8D15-08797356BDA6}"/>
          </ac:spMkLst>
        </pc:spChg>
        <pc:spChg chg="mod">
          <ac:chgData name="Леонид Попов" userId="cc02b5965c9bae3b" providerId="LiveId" clId="{FDA48A03-3131-4F2F-A306-07301C63E802}" dt="2020-10-25T14:58:32.019" v="10738" actId="6549"/>
          <ac:spMkLst>
            <pc:docMk/>
            <pc:sldMk cId="1252469487" sldId="2707"/>
            <ac:spMk id="37" creationId="{496E292B-4CA0-41DC-97A1-84A4894ABDD5}"/>
          </ac:spMkLst>
        </pc:spChg>
        <pc:spChg chg="del mod">
          <ac:chgData name="Леонид Попов" userId="cc02b5965c9bae3b" providerId="LiveId" clId="{FDA48A03-3131-4F2F-A306-07301C63E802}" dt="2020-10-25T14:57:24.284" v="10696" actId="478"/>
          <ac:spMkLst>
            <pc:docMk/>
            <pc:sldMk cId="1252469487" sldId="2707"/>
            <ac:spMk id="38" creationId="{BC8210CD-A17E-463B-B019-0CEF6AF8241A}"/>
          </ac:spMkLst>
        </pc:spChg>
        <pc:spChg chg="mod">
          <ac:chgData name="Леонид Попов" userId="cc02b5965c9bae3b" providerId="LiveId" clId="{FDA48A03-3131-4F2F-A306-07301C63E802}" dt="2020-10-24T17:10:22.091" v="10089" actId="404"/>
          <ac:spMkLst>
            <pc:docMk/>
            <pc:sldMk cId="1252469487" sldId="2707"/>
            <ac:spMk id="40" creationId="{F8157F50-FE51-463C-9142-1E84599BD251}"/>
          </ac:spMkLst>
        </pc:spChg>
        <pc:spChg chg="mod">
          <ac:chgData name="Леонид Попов" userId="cc02b5965c9bae3b" providerId="LiveId" clId="{FDA48A03-3131-4F2F-A306-07301C63E802}" dt="2020-10-24T17:10:22.091" v="10089" actId="404"/>
          <ac:spMkLst>
            <pc:docMk/>
            <pc:sldMk cId="1252469487" sldId="2707"/>
            <ac:spMk id="41" creationId="{C86F8927-91A3-4C82-A902-4F2820B07ABA}"/>
          </ac:spMkLst>
        </pc:spChg>
        <pc:grpChg chg="mod">
          <ac:chgData name="Леонид Попов" userId="cc02b5965c9bae3b" providerId="LiveId" clId="{FDA48A03-3131-4F2F-A306-07301C63E802}" dt="2020-10-25T18:04:41.255" v="21771" actId="14100"/>
          <ac:grpSpMkLst>
            <pc:docMk/>
            <pc:sldMk cId="1252469487" sldId="2707"/>
            <ac:grpSpMk id="23" creationId="{D483E3AE-0A0D-4802-9B66-40C3EF2CBFF9}"/>
          </ac:grpSpMkLst>
        </pc:grpChg>
        <pc:grpChg chg="mod">
          <ac:chgData name="Леонид Попов" userId="cc02b5965c9bae3b" providerId="LiveId" clId="{FDA48A03-3131-4F2F-A306-07301C63E802}" dt="2020-10-25T15:03:13.299" v="10777" actId="1035"/>
          <ac:grpSpMkLst>
            <pc:docMk/>
            <pc:sldMk cId="1252469487" sldId="2707"/>
            <ac:grpSpMk id="27" creationId="{2BC5AECA-858B-47B5-8C14-C52040E8FBC5}"/>
          </ac:grpSpMkLst>
        </pc:grpChg>
        <pc:grpChg chg="mod">
          <ac:chgData name="Леонид Попов" userId="cc02b5965c9bae3b" providerId="LiveId" clId="{FDA48A03-3131-4F2F-A306-07301C63E802}" dt="2020-10-25T18:04:45.272" v="21772" actId="14100"/>
          <ac:grpSpMkLst>
            <pc:docMk/>
            <pc:sldMk cId="1252469487" sldId="2707"/>
            <ac:grpSpMk id="31" creationId="{404DA375-1187-4799-B3BB-5028BEADE771}"/>
          </ac:grpSpMkLst>
        </pc:grpChg>
        <pc:grpChg chg="mod">
          <ac:chgData name="Леонид Попов" userId="cc02b5965c9bae3b" providerId="LiveId" clId="{FDA48A03-3131-4F2F-A306-07301C63E802}" dt="2020-10-25T15:03:13.299" v="10777" actId="1035"/>
          <ac:grpSpMkLst>
            <pc:docMk/>
            <pc:sldMk cId="1252469487" sldId="2707"/>
            <ac:grpSpMk id="35" creationId="{12F4B5A6-2D4A-4A37-946A-072F43EBDF46}"/>
          </ac:grpSpMkLst>
        </pc:grpChg>
        <pc:grpChg chg="del">
          <ac:chgData name="Леонид Попов" userId="cc02b5965c9bae3b" providerId="LiveId" clId="{FDA48A03-3131-4F2F-A306-07301C63E802}" dt="2020-10-25T14:57:31.384" v="10697" actId="478"/>
          <ac:grpSpMkLst>
            <pc:docMk/>
            <pc:sldMk cId="1252469487" sldId="2707"/>
            <ac:grpSpMk id="39" creationId="{519A1ACE-1E07-484A-9497-DB3C7C7191FA}"/>
          </ac:grpSpMkLst>
        </pc:grpChg>
      </pc:sldChg>
      <pc:sldChg chg="modNotes">
        <pc:chgData name="Леонид Попов" userId="cc02b5965c9bae3b" providerId="LiveId" clId="{FDA48A03-3131-4F2F-A306-07301C63E802}" dt="2020-10-24T15:13:18.729" v="9497" actId="14100"/>
        <pc:sldMkLst>
          <pc:docMk/>
          <pc:sldMk cId="3070474282" sldId="2708"/>
        </pc:sldMkLst>
      </pc:sldChg>
      <pc:sldChg chg="addSp delSp modSp add mod delAnim modNotes modNotesTx">
        <pc:chgData name="Леонид Попов" userId="cc02b5965c9bae3b" providerId="LiveId" clId="{FDA48A03-3131-4F2F-A306-07301C63E802}" dt="2020-10-24T15:16:59.550" v="9562" actId="403"/>
        <pc:sldMkLst>
          <pc:docMk/>
          <pc:sldMk cId="2042666780" sldId="2709"/>
        </pc:sldMkLst>
        <pc:spChg chg="add mod">
          <ac:chgData name="Леонид Попов" userId="cc02b5965c9bae3b" providerId="LiveId" clId="{FDA48A03-3131-4F2F-A306-07301C63E802}" dt="2020-10-24T11:53:44.888" v="2087" actId="1036"/>
          <ac:spMkLst>
            <pc:docMk/>
            <pc:sldMk cId="2042666780" sldId="2709"/>
            <ac:spMk id="2" creationId="{8268EB28-777A-404A-9879-6ACDBFFC1051}"/>
          </ac:spMkLst>
        </pc:spChg>
        <pc:spChg chg="mod">
          <ac:chgData name="Леонид Попов" userId="cc02b5965c9bae3b" providerId="LiveId" clId="{FDA48A03-3131-4F2F-A306-07301C63E802}" dt="2020-10-24T11:37:24.691" v="1846" actId="6549"/>
          <ac:spMkLst>
            <pc:docMk/>
            <pc:sldMk cId="2042666780" sldId="2709"/>
            <ac:spMk id="3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4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5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6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7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8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11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14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16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21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22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23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24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28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29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32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35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36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39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41" creationId="{00000000-0000-0000-0000-000000000000}"/>
          </ac:spMkLst>
        </pc:spChg>
        <pc:spChg chg="add mod">
          <ac:chgData name="Леонид Попов" userId="cc02b5965c9bae3b" providerId="LiveId" clId="{FDA48A03-3131-4F2F-A306-07301C63E802}" dt="2020-10-24T11:53:44.888" v="2087" actId="1036"/>
          <ac:spMkLst>
            <pc:docMk/>
            <pc:sldMk cId="2042666780" sldId="2709"/>
            <ac:spMk id="43" creationId="{F3153195-E416-44E7-98C6-5761E8C5BD95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44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45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47" creationId="{00000000-0000-0000-0000-000000000000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59" creationId="{C6C2BE14-C66D-416C-8BE1-69079947C9C2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60" creationId="{218622DF-AC3D-4F55-B80C-99561E9FD075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64" creationId="{206BA8AA-EBF3-4C9C-ACD3-96E90DF0A315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65" creationId="{4EB13A87-DFDA-4ADC-BE94-ABF9BE090FB5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66" creationId="{1D7E984C-9C7D-4F95-98E9-4E65D7B95314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67" creationId="{48421674-3634-4E3C-87A4-B25C7FD2C788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68" creationId="{6D356DC8-214F-452F-B97F-F5271B7F1AC2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73" creationId="{E98627E6-9498-4A9B-86C5-AFE17581FCB6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75" creationId="{8F1ACF94-BFD2-407F-B6CB-7BED82586306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76" creationId="{F9E07834-7322-4DCD-B43F-A4BB37DE27B8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77" creationId="{D16C696B-614E-41F7-99FE-A6F71F8BEC40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78" creationId="{D469A166-91F2-48E6-9738-CA83290E0BFF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79" creationId="{CD39AD7E-8F76-4552-A820-256A576A24D1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80" creationId="{70E2632C-58B2-4DFE-B8AF-123BD1BBDA04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81" creationId="{AA0C6E8D-801C-411E-94EF-61020881161D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84" creationId="{03A13BFD-4AF6-46E9-9D0B-26561AA0420F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86" creationId="{EA16E4BE-1755-4124-9E22-A54820A589F9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88" creationId="{EDA4AE26-A832-497E-9297-E3DCE7B139C6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90" creationId="{97682F59-5204-4196-B2EF-E374654033DD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92" creationId="{2AEBF855-02DB-4820-8A6A-9A6D07D64067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94" creationId="{D4D7BE61-AC44-4490-86B1-30DDB9A8D2E5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96" creationId="{D766D54E-7C70-4FE7-AB3C-C8D2B6105F42}"/>
          </ac:spMkLst>
        </pc:spChg>
        <pc:spChg chg="add del mod">
          <ac:chgData name="Леонид Попов" userId="cc02b5965c9bae3b" providerId="LiveId" clId="{FDA48A03-3131-4F2F-A306-07301C63E802}" dt="2020-10-24T11:41:12.470" v="1871" actId="478"/>
          <ac:spMkLst>
            <pc:docMk/>
            <pc:sldMk cId="2042666780" sldId="2709"/>
            <ac:spMk id="105" creationId="{D45DFCB7-B7AA-411A-8213-657748A33200}"/>
          </ac:spMkLst>
        </pc:spChg>
        <pc:spChg chg="add mod">
          <ac:chgData name="Леонид Попов" userId="cc02b5965c9bae3b" providerId="LiveId" clId="{FDA48A03-3131-4F2F-A306-07301C63E802}" dt="2020-10-24T11:45:13.687" v="1899" actId="1035"/>
          <ac:spMkLst>
            <pc:docMk/>
            <pc:sldMk cId="2042666780" sldId="2709"/>
            <ac:spMk id="106" creationId="{4E91944E-1195-4763-A12D-662746790E56}"/>
          </ac:spMkLst>
        </pc:spChg>
        <pc:spChg chg="add del mod">
          <ac:chgData name="Леонид Попов" userId="cc02b5965c9bae3b" providerId="LiveId" clId="{FDA48A03-3131-4F2F-A306-07301C63E802}" dt="2020-10-24T11:41:12.470" v="1871" actId="478"/>
          <ac:spMkLst>
            <pc:docMk/>
            <pc:sldMk cId="2042666780" sldId="2709"/>
            <ac:spMk id="110" creationId="{C266897F-64F1-40D2-871D-5A1C1AA83AED}"/>
          </ac:spMkLst>
        </pc:spChg>
        <pc:spChg chg="add del mod">
          <ac:chgData name="Леонид Попов" userId="cc02b5965c9bae3b" providerId="LiveId" clId="{FDA48A03-3131-4F2F-A306-07301C63E802}" dt="2020-10-24T11:52:01.518" v="1999" actId="478"/>
          <ac:spMkLst>
            <pc:docMk/>
            <pc:sldMk cId="2042666780" sldId="2709"/>
            <ac:spMk id="111" creationId="{D55F29E6-BB80-4133-903C-307D74E364CC}"/>
          </ac:spMkLst>
        </pc:spChg>
        <pc:spChg chg="add del mod">
          <ac:chgData name="Леонид Попов" userId="cc02b5965c9bae3b" providerId="LiveId" clId="{FDA48A03-3131-4F2F-A306-07301C63E802}" dt="2020-10-24T11:52:01.518" v="1999" actId="478"/>
          <ac:spMkLst>
            <pc:docMk/>
            <pc:sldMk cId="2042666780" sldId="2709"/>
            <ac:spMk id="112" creationId="{998D38DE-B3AB-4C1A-ABB1-77B3C8EF839D}"/>
          </ac:spMkLst>
        </pc:spChg>
        <pc:spChg chg="add mod">
          <ac:chgData name="Леонид Попов" userId="cc02b5965c9bae3b" providerId="LiveId" clId="{FDA48A03-3131-4F2F-A306-07301C63E802}" dt="2020-10-24T11:55:29.638" v="2149" actId="14100"/>
          <ac:spMkLst>
            <pc:docMk/>
            <pc:sldMk cId="2042666780" sldId="2709"/>
            <ac:spMk id="113" creationId="{DCDA4E66-0059-44BE-AFA5-F0D2834CDE37}"/>
          </ac:spMkLst>
        </pc:spChg>
        <pc:spChg chg="add del mod">
          <ac:chgData name="Леонид Попов" userId="cc02b5965c9bae3b" providerId="LiveId" clId="{FDA48A03-3131-4F2F-A306-07301C63E802}" dt="2020-10-24T11:52:01.518" v="1999" actId="478"/>
          <ac:spMkLst>
            <pc:docMk/>
            <pc:sldMk cId="2042666780" sldId="2709"/>
            <ac:spMk id="114" creationId="{E2664EEC-9349-4C18-911F-184A12D94E64}"/>
          </ac:spMkLst>
        </pc:spChg>
        <pc:spChg chg="add mod">
          <ac:chgData name="Леонид Попов" userId="cc02b5965c9bae3b" providerId="LiveId" clId="{FDA48A03-3131-4F2F-A306-07301C63E802}" dt="2020-10-24T11:54:47.871" v="2112" actId="1038"/>
          <ac:spMkLst>
            <pc:docMk/>
            <pc:sldMk cId="2042666780" sldId="2709"/>
            <ac:spMk id="119" creationId="{3487DF28-4DE8-4603-8A4B-6486C10A12D1}"/>
          </ac:spMkLst>
        </pc:spChg>
        <pc:spChg chg="add del mod">
          <ac:chgData name="Леонид Попов" userId="cc02b5965c9bae3b" providerId="LiveId" clId="{FDA48A03-3131-4F2F-A306-07301C63E802}" dt="2020-10-24T11:41:12.470" v="1871" actId="478"/>
          <ac:spMkLst>
            <pc:docMk/>
            <pc:sldMk cId="2042666780" sldId="2709"/>
            <ac:spMk id="121" creationId="{BE5F7839-C745-4AB0-9947-C99B1F39A2A4}"/>
          </ac:spMkLst>
        </pc:spChg>
        <pc:spChg chg="add del mod">
          <ac:chgData name="Леонид Попов" userId="cc02b5965c9bae3b" providerId="LiveId" clId="{FDA48A03-3131-4F2F-A306-07301C63E802}" dt="2020-10-24T11:52:01.518" v="1999" actId="478"/>
          <ac:spMkLst>
            <pc:docMk/>
            <pc:sldMk cId="2042666780" sldId="2709"/>
            <ac:spMk id="122" creationId="{00A00415-29B8-4092-A992-4CD6B8773B9D}"/>
          </ac:spMkLst>
        </pc:spChg>
        <pc:spChg chg="add del mod">
          <ac:chgData name="Леонид Попов" userId="cc02b5965c9bae3b" providerId="LiveId" clId="{FDA48A03-3131-4F2F-A306-07301C63E802}" dt="2020-10-24T11:41:12.470" v="1871" actId="478"/>
          <ac:spMkLst>
            <pc:docMk/>
            <pc:sldMk cId="2042666780" sldId="2709"/>
            <ac:spMk id="123" creationId="{DAC067A8-A25B-4E86-A062-19D4441226CA}"/>
          </ac:spMkLst>
        </pc:spChg>
        <pc:spChg chg="add mod">
          <ac:chgData name="Леонид Попов" userId="cc02b5965c9bae3b" providerId="LiveId" clId="{FDA48A03-3131-4F2F-A306-07301C63E802}" dt="2020-10-24T11:45:13.687" v="1899" actId="1035"/>
          <ac:spMkLst>
            <pc:docMk/>
            <pc:sldMk cId="2042666780" sldId="2709"/>
            <ac:spMk id="124" creationId="{F78CF6BB-8F27-4CC7-88CE-1C12C68D02C0}"/>
          </ac:spMkLst>
        </pc:spChg>
        <pc:spChg chg="add del mod">
          <ac:chgData name="Леонид Попов" userId="cc02b5965c9bae3b" providerId="LiveId" clId="{FDA48A03-3131-4F2F-A306-07301C63E802}" dt="2020-10-24T11:52:01.518" v="1999" actId="478"/>
          <ac:spMkLst>
            <pc:docMk/>
            <pc:sldMk cId="2042666780" sldId="2709"/>
            <ac:spMk id="125" creationId="{F892D4B7-33C5-41C7-9689-86D31A4494D3}"/>
          </ac:spMkLst>
        </pc:spChg>
        <pc:spChg chg="add del mod">
          <ac:chgData name="Леонид Попов" userId="cc02b5965c9bae3b" providerId="LiveId" clId="{FDA48A03-3131-4F2F-A306-07301C63E802}" dt="2020-10-24T11:52:01.518" v="1999" actId="478"/>
          <ac:spMkLst>
            <pc:docMk/>
            <pc:sldMk cId="2042666780" sldId="2709"/>
            <ac:spMk id="126" creationId="{90E48799-2761-46BA-8D42-5C15A965BD33}"/>
          </ac:spMkLst>
        </pc:spChg>
        <pc:spChg chg="add mod">
          <ac:chgData name="Леонид Попов" userId="cc02b5965c9bae3b" providerId="LiveId" clId="{FDA48A03-3131-4F2F-A306-07301C63E802}" dt="2020-10-24T11:45:13.687" v="1899" actId="1035"/>
          <ac:spMkLst>
            <pc:docMk/>
            <pc:sldMk cId="2042666780" sldId="2709"/>
            <ac:spMk id="127" creationId="{BA6F7C64-3B95-4889-9164-935FC1934FAC}"/>
          </ac:spMkLst>
        </pc:spChg>
        <pc:spChg chg="add del mod">
          <ac:chgData name="Леонид Попов" userId="cc02b5965c9bae3b" providerId="LiveId" clId="{FDA48A03-3131-4F2F-A306-07301C63E802}" dt="2020-10-24T11:44:17.165" v="1877" actId="478"/>
          <ac:spMkLst>
            <pc:docMk/>
            <pc:sldMk cId="2042666780" sldId="2709"/>
            <ac:spMk id="130" creationId="{2EB363A8-561D-481E-A284-69171C04325D}"/>
          </ac:spMkLst>
        </pc:spChg>
        <pc:spChg chg="add del mod">
          <ac:chgData name="Леонид Попов" userId="cc02b5965c9bae3b" providerId="LiveId" clId="{FDA48A03-3131-4F2F-A306-07301C63E802}" dt="2020-10-24T11:44:17.165" v="1877" actId="478"/>
          <ac:spMkLst>
            <pc:docMk/>
            <pc:sldMk cId="2042666780" sldId="2709"/>
            <ac:spMk id="132" creationId="{1AA2D7FE-3A72-498E-93DC-57BC6FDD6B1E}"/>
          </ac:spMkLst>
        </pc:spChg>
        <pc:spChg chg="add del mod">
          <ac:chgData name="Леонид Попов" userId="cc02b5965c9bae3b" providerId="LiveId" clId="{FDA48A03-3131-4F2F-A306-07301C63E802}" dt="2020-10-24T11:44:17.165" v="1877" actId="478"/>
          <ac:spMkLst>
            <pc:docMk/>
            <pc:sldMk cId="2042666780" sldId="2709"/>
            <ac:spMk id="134" creationId="{84E85BD8-DC58-4C7E-BF95-B9EE6B6A2CAD}"/>
          </ac:spMkLst>
        </pc:spChg>
        <pc:spChg chg="add del mod">
          <ac:chgData name="Леонид Попов" userId="cc02b5965c9bae3b" providerId="LiveId" clId="{FDA48A03-3131-4F2F-A306-07301C63E802}" dt="2020-10-24T11:44:17.165" v="1877" actId="478"/>
          <ac:spMkLst>
            <pc:docMk/>
            <pc:sldMk cId="2042666780" sldId="2709"/>
            <ac:spMk id="136" creationId="{17348FA2-12D9-4C85-8A23-2CA7F1E4F9A9}"/>
          </ac:spMkLst>
        </pc:spChg>
        <pc:spChg chg="add del mod">
          <ac:chgData name="Леонид Попов" userId="cc02b5965c9bae3b" providerId="LiveId" clId="{FDA48A03-3131-4F2F-A306-07301C63E802}" dt="2020-10-24T11:44:17.165" v="1877" actId="478"/>
          <ac:spMkLst>
            <pc:docMk/>
            <pc:sldMk cId="2042666780" sldId="2709"/>
            <ac:spMk id="138" creationId="{DF73EC9A-DA56-4F91-9E0C-701FE62A47EA}"/>
          </ac:spMkLst>
        </pc:spChg>
        <pc:spChg chg="add del mod">
          <ac:chgData name="Леонид Попов" userId="cc02b5965c9bae3b" providerId="LiveId" clId="{FDA48A03-3131-4F2F-A306-07301C63E802}" dt="2020-10-24T11:44:17.165" v="1877" actId="478"/>
          <ac:spMkLst>
            <pc:docMk/>
            <pc:sldMk cId="2042666780" sldId="2709"/>
            <ac:spMk id="140" creationId="{96AFBD45-458A-45A4-9263-6971352E1F74}"/>
          </ac:spMkLst>
        </pc:spChg>
        <pc:spChg chg="add del mod">
          <ac:chgData name="Леонид Попов" userId="cc02b5965c9bae3b" providerId="LiveId" clId="{FDA48A03-3131-4F2F-A306-07301C63E802}" dt="2020-10-24T11:41:12.470" v="1871" actId="478"/>
          <ac:spMkLst>
            <pc:docMk/>
            <pc:sldMk cId="2042666780" sldId="2709"/>
            <ac:spMk id="142" creationId="{6263139B-9F44-428F-A67C-FD56EB9C068B}"/>
          </ac:spMkLst>
        </pc:spChg>
        <pc:spChg chg="add mod">
          <ac:chgData name="Леонид Попов" userId="cc02b5965c9bae3b" providerId="LiveId" clId="{FDA48A03-3131-4F2F-A306-07301C63E802}" dt="2020-10-24T11:55:09.567" v="2148" actId="20577"/>
          <ac:spMkLst>
            <pc:docMk/>
            <pc:sldMk cId="2042666780" sldId="2709"/>
            <ac:spMk id="145" creationId="{AFF2F06E-A1C6-46FD-ABB7-8870F3C13922}"/>
          </ac:spMkLst>
        </pc:spChg>
        <pc:spChg chg="add mod">
          <ac:chgData name="Леонид Попов" userId="cc02b5965c9bae3b" providerId="LiveId" clId="{FDA48A03-3131-4F2F-A306-07301C63E802}" dt="2020-10-24T12:48:56.847" v="2769" actId="1037"/>
          <ac:spMkLst>
            <pc:docMk/>
            <pc:sldMk cId="2042666780" sldId="2709"/>
            <ac:spMk id="148" creationId="{4A2628B1-223E-4D14-90F2-2EB2B44212A5}"/>
          </ac:spMkLst>
        </pc:spChg>
        <pc:spChg chg="add del mod">
          <ac:chgData name="Леонид Попов" userId="cc02b5965c9bae3b" providerId="LiveId" clId="{FDA48A03-3131-4F2F-A306-07301C63E802}" dt="2020-10-24T12:52:43.821" v="2916" actId="478"/>
          <ac:spMkLst>
            <pc:docMk/>
            <pc:sldMk cId="2042666780" sldId="2709"/>
            <ac:spMk id="155" creationId="{9A7D048A-7B1F-429A-BE97-6E9FCAD5D4FF}"/>
          </ac:spMkLst>
        </pc:spChg>
        <pc:grpChg chg="add mod">
          <ac:chgData name="Леонид Попов" userId="cc02b5965c9bae3b" providerId="LiveId" clId="{FDA48A03-3131-4F2F-A306-07301C63E802}" dt="2020-10-24T12:53:36.845" v="2931" actId="1036"/>
          <ac:grpSpMkLst>
            <pc:docMk/>
            <pc:sldMk cId="2042666780" sldId="2709"/>
            <ac:grpSpMk id="158" creationId="{A298E971-E52D-4303-A105-5C88E32C916F}"/>
          </ac:grpSpMkLst>
        </pc:grpChg>
        <pc:graphicFrameChg chg="add del mod">
          <ac:chgData name="Леонид Попов" userId="cc02b5965c9bae3b" providerId="LiveId" clId="{FDA48A03-3131-4F2F-A306-07301C63E802}" dt="2020-10-24T11:40:49.714" v="1852"/>
          <ac:graphicFrameMkLst>
            <pc:docMk/>
            <pc:sldMk cId="2042666780" sldId="2709"/>
            <ac:graphicFrameMk id="82" creationId="{7468DEE4-BC58-4B05-8E8A-96DE4BB8BC9B}"/>
          </ac:graphicFrameMkLst>
        </pc:graphicFrameChg>
        <pc:graphicFrameChg chg="add mod modGraphic">
          <ac:chgData name="Леонид Попов" userId="cc02b5965c9bae3b" providerId="LiveId" clId="{FDA48A03-3131-4F2F-A306-07301C63E802}" dt="2020-10-24T11:57:44.878" v="2285" actId="20577"/>
          <ac:graphicFrameMkLst>
            <pc:docMk/>
            <pc:sldMk cId="2042666780" sldId="2709"/>
            <ac:graphicFrameMk id="128" creationId="{B7D336DC-2FA2-423F-A847-4DACFE994513}"/>
          </ac:graphicFrameMkLst>
        </pc:graphicFrameChg>
        <pc:picChg chg="add mod">
          <ac:chgData name="Леонид Попов" userId="cc02b5965c9bae3b" providerId="LiveId" clId="{FDA48A03-3131-4F2F-A306-07301C63E802}" dt="2020-10-24T12:48:52.775" v="2767" actId="1037"/>
          <ac:picMkLst>
            <pc:docMk/>
            <pc:sldMk cId="2042666780" sldId="2709"/>
            <ac:picMk id="46" creationId="{762217B2-357B-41EA-9DA3-8EBFF1E6CCAF}"/>
          </ac:picMkLst>
        </pc:picChg>
        <pc:picChg chg="del">
          <ac:chgData name="Леонид Попов" userId="cc02b5965c9bae3b" providerId="LiveId" clId="{FDA48A03-3131-4F2F-A306-07301C63E802}" dt="2020-10-24T11:37:33.279" v="1847" actId="478"/>
          <ac:picMkLst>
            <pc:docMk/>
            <pc:sldMk cId="2042666780" sldId="2709"/>
            <ac:picMk id="48" creationId="{00000000-0000-0000-0000-000000000000}"/>
          </ac:picMkLst>
        </pc:picChg>
        <pc:picChg chg="del">
          <ac:chgData name="Леонид Попов" userId="cc02b5965c9bae3b" providerId="LiveId" clId="{FDA48A03-3131-4F2F-A306-07301C63E802}" dt="2020-10-24T11:37:33.279" v="1847" actId="478"/>
          <ac:picMkLst>
            <pc:docMk/>
            <pc:sldMk cId="2042666780" sldId="2709"/>
            <ac:picMk id="50" creationId="{00000000-0000-0000-0000-000000000000}"/>
          </ac:picMkLst>
        </pc:picChg>
        <pc:picChg chg="del">
          <ac:chgData name="Леонид Попов" userId="cc02b5965c9bae3b" providerId="LiveId" clId="{FDA48A03-3131-4F2F-A306-07301C63E802}" dt="2020-10-24T11:37:33.279" v="1847" actId="478"/>
          <ac:picMkLst>
            <pc:docMk/>
            <pc:sldMk cId="2042666780" sldId="2709"/>
            <ac:picMk id="51" creationId="{00000000-0000-0000-0000-000000000000}"/>
          </ac:picMkLst>
        </pc:picChg>
        <pc:picChg chg="add del mod">
          <ac:chgData name="Леонид Попов" userId="cc02b5965c9bae3b" providerId="LiveId" clId="{FDA48A03-3131-4F2F-A306-07301C63E802}" dt="2020-10-24T11:40:49.714" v="1852"/>
          <ac:picMkLst>
            <pc:docMk/>
            <pc:sldMk cId="2042666780" sldId="2709"/>
            <ac:picMk id="52" creationId="{24ABCEFF-57C6-433B-9AB3-AB4CDF5A6EB2}"/>
          </ac:picMkLst>
        </pc:picChg>
        <pc:picChg chg="add del mod">
          <ac:chgData name="Леонид Попов" userId="cc02b5965c9bae3b" providerId="LiveId" clId="{FDA48A03-3131-4F2F-A306-07301C63E802}" dt="2020-10-24T11:40:49.714" v="1852"/>
          <ac:picMkLst>
            <pc:docMk/>
            <pc:sldMk cId="2042666780" sldId="2709"/>
            <ac:picMk id="87" creationId="{6A8703F2-51EB-4D8C-9916-C5BB9B61EB8C}"/>
          </ac:picMkLst>
        </pc:picChg>
        <pc:picChg chg="add del mod">
          <ac:chgData name="Леонид Попов" userId="cc02b5965c9bae3b" providerId="LiveId" clId="{FDA48A03-3131-4F2F-A306-07301C63E802}" dt="2020-10-24T11:40:49.714" v="1852"/>
          <ac:picMkLst>
            <pc:docMk/>
            <pc:sldMk cId="2042666780" sldId="2709"/>
            <ac:picMk id="89" creationId="{C9771A73-CDF6-4071-B954-DB6F8E19D044}"/>
          </ac:picMkLst>
        </pc:picChg>
        <pc:picChg chg="add del mod">
          <ac:chgData name="Леонид Попов" userId="cc02b5965c9bae3b" providerId="LiveId" clId="{FDA48A03-3131-4F2F-A306-07301C63E802}" dt="2020-10-24T11:40:49.714" v="1852"/>
          <ac:picMkLst>
            <pc:docMk/>
            <pc:sldMk cId="2042666780" sldId="2709"/>
            <ac:picMk id="91" creationId="{E98481A8-53D0-4499-A591-BC3D5C1D912C}"/>
          </ac:picMkLst>
        </pc:picChg>
        <pc:picChg chg="add del mod">
          <ac:chgData name="Леонид Попов" userId="cc02b5965c9bae3b" providerId="LiveId" clId="{FDA48A03-3131-4F2F-A306-07301C63E802}" dt="2020-10-24T11:40:49.714" v="1852"/>
          <ac:picMkLst>
            <pc:docMk/>
            <pc:sldMk cId="2042666780" sldId="2709"/>
            <ac:picMk id="93" creationId="{FCE79EB3-D64A-4740-91A1-F0C47C6AFC4B}"/>
          </ac:picMkLst>
        </pc:picChg>
        <pc:picChg chg="add del mod">
          <ac:chgData name="Леонид Попов" userId="cc02b5965c9bae3b" providerId="LiveId" clId="{FDA48A03-3131-4F2F-A306-07301C63E802}" dt="2020-10-24T11:40:49.714" v="1852"/>
          <ac:picMkLst>
            <pc:docMk/>
            <pc:sldMk cId="2042666780" sldId="2709"/>
            <ac:picMk id="95" creationId="{5DBD67BE-181E-44FF-9044-980EF49C2AC7}"/>
          </ac:picMkLst>
        </pc:picChg>
        <pc:picChg chg="add del mod">
          <ac:chgData name="Леонид Попов" userId="cc02b5965c9bae3b" providerId="LiveId" clId="{FDA48A03-3131-4F2F-A306-07301C63E802}" dt="2020-10-24T11:41:14.996" v="1872" actId="478"/>
          <ac:picMkLst>
            <pc:docMk/>
            <pc:sldMk cId="2042666780" sldId="2709"/>
            <ac:picMk id="98" creationId="{2FF911A6-3E14-4F3B-A238-7D02BD7DF979}"/>
          </ac:picMkLst>
        </pc:picChg>
        <pc:picChg chg="add del mod">
          <ac:chgData name="Леонид Попов" userId="cc02b5965c9bae3b" providerId="LiveId" clId="{FDA48A03-3131-4F2F-A306-07301C63E802}" dt="2020-10-24T11:41:06.597" v="1870" actId="478"/>
          <ac:picMkLst>
            <pc:docMk/>
            <pc:sldMk cId="2042666780" sldId="2709"/>
            <ac:picMk id="133" creationId="{3F7A7F89-1920-4FD2-AA1A-E6DFDD03EC1C}"/>
          </ac:picMkLst>
        </pc:picChg>
        <pc:picChg chg="add del mod">
          <ac:chgData name="Леонид Попов" userId="cc02b5965c9bae3b" providerId="LiveId" clId="{FDA48A03-3131-4F2F-A306-07301C63E802}" dt="2020-10-24T11:44:17.165" v="1877" actId="478"/>
          <ac:picMkLst>
            <pc:docMk/>
            <pc:sldMk cId="2042666780" sldId="2709"/>
            <ac:picMk id="135" creationId="{B2DFE976-4E60-4889-9B3C-A61E720CC7FD}"/>
          </ac:picMkLst>
        </pc:picChg>
        <pc:picChg chg="add del mod">
          <ac:chgData name="Леонид Попов" userId="cc02b5965c9bae3b" providerId="LiveId" clId="{FDA48A03-3131-4F2F-A306-07301C63E802}" dt="2020-10-24T11:44:17.165" v="1877" actId="478"/>
          <ac:picMkLst>
            <pc:docMk/>
            <pc:sldMk cId="2042666780" sldId="2709"/>
            <ac:picMk id="137" creationId="{69C551A1-9D2A-45FA-BE30-529DD8A89DFC}"/>
          </ac:picMkLst>
        </pc:picChg>
        <pc:picChg chg="add del mod">
          <ac:chgData name="Леонид Попов" userId="cc02b5965c9bae3b" providerId="LiveId" clId="{FDA48A03-3131-4F2F-A306-07301C63E802}" dt="2020-10-24T11:44:17.165" v="1877" actId="478"/>
          <ac:picMkLst>
            <pc:docMk/>
            <pc:sldMk cId="2042666780" sldId="2709"/>
            <ac:picMk id="139" creationId="{B5A4681A-41B3-46EE-AB2E-713753A72ED4}"/>
          </ac:picMkLst>
        </pc:picChg>
        <pc:picChg chg="add del mod">
          <ac:chgData name="Леонид Попов" userId="cc02b5965c9bae3b" providerId="LiveId" clId="{FDA48A03-3131-4F2F-A306-07301C63E802}" dt="2020-10-24T11:44:17.165" v="1877" actId="478"/>
          <ac:picMkLst>
            <pc:docMk/>
            <pc:sldMk cId="2042666780" sldId="2709"/>
            <ac:picMk id="141" creationId="{2832A7E7-F8A5-43A1-ADCC-24AD4C007100}"/>
          </ac:picMkLst>
        </pc:picChg>
        <pc:picChg chg="add mod">
          <ac:chgData name="Леонид Попов" userId="cc02b5965c9bae3b" providerId="LiveId" clId="{FDA48A03-3131-4F2F-A306-07301C63E802}" dt="2020-10-24T12:48:56.847" v="2769" actId="1037"/>
          <ac:picMkLst>
            <pc:docMk/>
            <pc:sldMk cId="2042666780" sldId="2709"/>
            <ac:picMk id="147" creationId="{BA1A417E-0034-4845-BE5F-00407A6217FB}"/>
          </ac:picMkLst>
        </pc:picChg>
        <pc:picChg chg="add mod">
          <ac:chgData name="Леонид Попов" userId="cc02b5965c9bae3b" providerId="LiveId" clId="{FDA48A03-3131-4F2F-A306-07301C63E802}" dt="2020-10-24T12:53:15.123" v="2924" actId="164"/>
          <ac:picMkLst>
            <pc:docMk/>
            <pc:sldMk cId="2042666780" sldId="2709"/>
            <ac:picMk id="149" creationId="{B3F0A794-E2C1-4636-AD7F-D257584E4A0B}"/>
          </ac:picMkLst>
        </pc:picChg>
        <pc:picChg chg="add del mod modCrop">
          <ac:chgData name="Леонид Попов" userId="cc02b5965c9bae3b" providerId="LiveId" clId="{FDA48A03-3131-4F2F-A306-07301C63E802}" dt="2020-10-24T12:39:04.595" v="2642" actId="478"/>
          <ac:picMkLst>
            <pc:docMk/>
            <pc:sldMk cId="2042666780" sldId="2709"/>
            <ac:picMk id="150" creationId="{0AD016AE-3E4F-488B-9626-79E242F9DE29}"/>
          </ac:picMkLst>
        </pc:picChg>
        <pc:picChg chg="add del mod">
          <ac:chgData name="Леонид Попов" userId="cc02b5965c9bae3b" providerId="LiveId" clId="{FDA48A03-3131-4F2F-A306-07301C63E802}" dt="2020-10-24T12:43:24.702" v="2677" actId="478"/>
          <ac:picMkLst>
            <pc:docMk/>
            <pc:sldMk cId="2042666780" sldId="2709"/>
            <ac:picMk id="151" creationId="{EE1AE3C2-860F-4CAC-8E5F-FD2176B89CB5}"/>
          </ac:picMkLst>
        </pc:picChg>
        <pc:picChg chg="add del mod">
          <ac:chgData name="Леонид Попов" userId="cc02b5965c9bae3b" providerId="LiveId" clId="{FDA48A03-3131-4F2F-A306-07301C63E802}" dt="2020-10-24T12:45:43.022" v="2680" actId="478"/>
          <ac:picMkLst>
            <pc:docMk/>
            <pc:sldMk cId="2042666780" sldId="2709"/>
            <ac:picMk id="152" creationId="{19266F15-5266-4077-9158-D36E149D0A72}"/>
          </ac:picMkLst>
        </pc:picChg>
        <pc:picChg chg="add del mod">
          <ac:chgData name="Леонид Попов" userId="cc02b5965c9bae3b" providerId="LiveId" clId="{FDA48A03-3131-4F2F-A306-07301C63E802}" dt="2020-10-24T12:46:52.467" v="2687" actId="478"/>
          <ac:picMkLst>
            <pc:docMk/>
            <pc:sldMk cId="2042666780" sldId="2709"/>
            <ac:picMk id="153" creationId="{2B0B3765-1233-4978-9CAF-D7E9A5EC4579}"/>
          </ac:picMkLst>
        </pc:picChg>
        <pc:picChg chg="add del mod">
          <ac:chgData name="Леонид Попов" userId="cc02b5965c9bae3b" providerId="LiveId" clId="{FDA48A03-3131-4F2F-A306-07301C63E802}" dt="2020-10-24T12:53:21.709" v="2926" actId="478"/>
          <ac:picMkLst>
            <pc:docMk/>
            <pc:sldMk cId="2042666780" sldId="2709"/>
            <ac:picMk id="154" creationId="{4CCFF1EA-EFA8-434E-88EA-6D84996713B5}"/>
          </ac:picMkLst>
        </pc:picChg>
        <pc:picChg chg="add mod modCrop">
          <ac:chgData name="Леонид Попов" userId="cc02b5965c9bae3b" providerId="LiveId" clId="{FDA48A03-3131-4F2F-A306-07301C63E802}" dt="2020-10-24T12:53:15.123" v="2924" actId="164"/>
          <ac:picMkLst>
            <pc:docMk/>
            <pc:sldMk cId="2042666780" sldId="2709"/>
            <ac:picMk id="157" creationId="{52755E59-4C9E-4FF0-B1EB-BAC0F4338D18}"/>
          </ac:picMkLst>
        </pc:pic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9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10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12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13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15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17" creationId="{00000000-0000-0000-0000-000000000000}"/>
          </ac:cxnSpMkLst>
        </pc:cxnChg>
        <pc:cxnChg chg="del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18" creationId="{00000000-0000-0000-0000-000000000000}"/>
          </ac:cxnSpMkLst>
        </pc:cxnChg>
        <pc:cxnChg chg="del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19" creationId="{00000000-0000-0000-0000-000000000000}"/>
          </ac:cxnSpMkLst>
        </pc:cxnChg>
        <pc:cxnChg chg="del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20" creationId="{00000000-0000-0000-0000-000000000000}"/>
          </ac:cxnSpMkLst>
        </pc:cxnChg>
        <pc:cxnChg chg="del">
          <ac:chgData name="Леонид Попов" userId="cc02b5965c9bae3b" providerId="LiveId" clId="{FDA48A03-3131-4F2F-A306-07301C63E802}" dt="2020-10-24T11:37:36.509" v="1848" actId="478"/>
          <ac:cxnSpMkLst>
            <pc:docMk/>
            <pc:sldMk cId="2042666780" sldId="2709"/>
            <ac:cxnSpMk id="25" creationId="{00000000-0000-0000-0000-000000000000}"/>
          </ac:cxnSpMkLst>
        </pc:cxnChg>
        <pc:cxnChg chg="del">
          <ac:chgData name="Леонид Попов" userId="cc02b5965c9bae3b" providerId="LiveId" clId="{FDA48A03-3131-4F2F-A306-07301C63E802}" dt="2020-10-24T11:37:38.476" v="1849" actId="478"/>
          <ac:cxnSpMkLst>
            <pc:docMk/>
            <pc:sldMk cId="2042666780" sldId="2709"/>
            <ac:cxnSpMk id="26" creationId="{00000000-0000-0000-0000-000000000000}"/>
          </ac:cxnSpMkLst>
        </pc:cxnChg>
        <pc:cxnChg chg="del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27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30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31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33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34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37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38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40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42" creationId="{00000000-0000-0000-0000-000000000000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49" creationId="{4F0E5C9F-9134-4FCD-809C-829BD03365E6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53" creationId="{9D5E9AEA-F54F-4891-835E-5D6C955276E2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54" creationId="{06F80783-4490-4AF0-9348-D81D3C717432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55" creationId="{92102CEC-B1CE-461D-BF77-55EC7339B7F7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56" creationId="{1FA21D66-6945-4898-A82B-7CE5C741DA6F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57" creationId="{0033E675-DDC3-45E1-A6BB-022E3F6EB5A3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58" creationId="{1C03BEA1-CC08-4623-922D-D01A03FA23CB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61" creationId="{CAE4C4F9-6549-41B6-B934-A8A6258DB297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62" creationId="{2846B5DD-4D32-4E89-AC8C-4D8D94310C40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63" creationId="{8048229D-813A-4BD1-BCB2-A9A3A17837D6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69" creationId="{D31D341B-14A8-48C6-A142-AE429750D398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70" creationId="{2C7D57F7-8055-461D-8689-C78672C18ABD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71" creationId="{1CBC26F8-0CC8-454A-9676-3D4A1D7CFB65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72" creationId="{1B367B03-9243-4934-9D6A-3BCB05A7A33D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74" creationId="{76C65AAE-FA08-4511-B552-A702DCA81F35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83" creationId="{F79DC635-5FEB-42C8-BA6F-8E5F6FEEB366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85" creationId="{704307B4-5B79-4C48-AC59-DEEC1D3E52A5}"/>
          </ac:cxnSpMkLst>
        </pc:cxnChg>
        <pc:cxnChg chg="add mod ord">
          <ac:chgData name="Леонид Попов" userId="cc02b5965c9bae3b" providerId="LiveId" clId="{FDA48A03-3131-4F2F-A306-07301C63E802}" dt="2020-10-24T11:52:36.897" v="2026" actId="166"/>
          <ac:cxnSpMkLst>
            <pc:docMk/>
            <pc:sldMk cId="2042666780" sldId="2709"/>
            <ac:cxnSpMk id="97" creationId="{0320F6E7-7019-4654-BA0A-D359342DE6E1}"/>
          </ac:cxnSpMkLst>
        </pc:cxnChg>
        <pc:cxnChg chg="add mod ord">
          <ac:chgData name="Леонид Попов" userId="cc02b5965c9bae3b" providerId="LiveId" clId="{FDA48A03-3131-4F2F-A306-07301C63E802}" dt="2020-10-24T11:54:13.646" v="2095" actId="1038"/>
          <ac:cxnSpMkLst>
            <pc:docMk/>
            <pc:sldMk cId="2042666780" sldId="2709"/>
            <ac:cxnSpMk id="99" creationId="{68D1C1A3-4468-416A-83A9-BA3DC298BAE5}"/>
          </ac:cxnSpMkLst>
        </pc:cxnChg>
        <pc:cxnChg chg="add mod ord">
          <ac:chgData name="Леонид Попов" userId="cc02b5965c9bae3b" providerId="LiveId" clId="{FDA48A03-3131-4F2F-A306-07301C63E802}" dt="2020-10-24T11:54:18.408" v="2100" actId="1037"/>
          <ac:cxnSpMkLst>
            <pc:docMk/>
            <pc:sldMk cId="2042666780" sldId="2709"/>
            <ac:cxnSpMk id="100" creationId="{8E07E366-25CA-4F99-B2DF-0AA10AC6CCC4}"/>
          </ac:cxnSpMkLst>
        </pc:cxnChg>
        <pc:cxnChg chg="add mod ord">
          <ac:chgData name="Леонид Попов" userId="cc02b5965c9bae3b" providerId="LiveId" clId="{FDA48A03-3131-4F2F-A306-07301C63E802}" dt="2020-10-24T11:54:24.887" v="2104" actId="1038"/>
          <ac:cxnSpMkLst>
            <pc:docMk/>
            <pc:sldMk cId="2042666780" sldId="2709"/>
            <ac:cxnSpMk id="101" creationId="{6540B413-7A46-4D34-97B1-3995C7A3EE81}"/>
          </ac:cxnSpMkLst>
        </pc:cxnChg>
        <pc:cxnChg chg="add mod ord">
          <ac:chgData name="Леонид Попов" userId="cc02b5965c9bae3b" providerId="LiveId" clId="{FDA48A03-3131-4F2F-A306-07301C63E802}" dt="2020-10-24T11:52:36.897" v="2026" actId="166"/>
          <ac:cxnSpMkLst>
            <pc:docMk/>
            <pc:sldMk cId="2042666780" sldId="2709"/>
            <ac:cxnSpMk id="102" creationId="{5DFF9898-36D8-4D07-9BED-DAE1AF722C89}"/>
          </ac:cxnSpMkLst>
        </pc:cxnChg>
        <pc:cxnChg chg="add mod ord">
          <ac:chgData name="Леонид Попов" userId="cc02b5965c9bae3b" providerId="LiveId" clId="{FDA48A03-3131-4F2F-A306-07301C63E802}" dt="2020-10-24T11:52:36.897" v="2026" actId="166"/>
          <ac:cxnSpMkLst>
            <pc:docMk/>
            <pc:sldMk cId="2042666780" sldId="2709"/>
            <ac:cxnSpMk id="103" creationId="{B3DA1176-40E2-4FED-9A96-A93AD7872CC4}"/>
          </ac:cxnSpMkLst>
        </pc:cxnChg>
        <pc:cxnChg chg="add del mod ord">
          <ac:chgData name="Леонид Попов" userId="cc02b5965c9bae3b" providerId="LiveId" clId="{FDA48A03-3131-4F2F-A306-07301C63E802}" dt="2020-10-24T11:54:08.365" v="2089" actId="478"/>
          <ac:cxnSpMkLst>
            <pc:docMk/>
            <pc:sldMk cId="2042666780" sldId="2709"/>
            <ac:cxnSpMk id="104" creationId="{53102BDC-F1FE-42EF-ADF8-CE9FBBD38795}"/>
          </ac:cxnSpMkLst>
        </pc:cxnChg>
        <pc:cxnChg chg="add del mod">
          <ac:chgData name="Леонид Попов" userId="cc02b5965c9bae3b" providerId="LiveId" clId="{FDA48A03-3131-4F2F-A306-07301C63E802}" dt="2020-10-24T11:41:32.230" v="1873" actId="478"/>
          <ac:cxnSpMkLst>
            <pc:docMk/>
            <pc:sldMk cId="2042666780" sldId="2709"/>
            <ac:cxnSpMk id="107" creationId="{FA1343EE-54E7-476B-90AF-8248C072CC21}"/>
          </ac:cxnSpMkLst>
        </pc:cxnChg>
        <pc:cxnChg chg="add del mod">
          <ac:chgData name="Леонид Попов" userId="cc02b5965c9bae3b" providerId="LiveId" clId="{FDA48A03-3131-4F2F-A306-07301C63E802}" dt="2020-10-24T11:41:32.230" v="1873" actId="478"/>
          <ac:cxnSpMkLst>
            <pc:docMk/>
            <pc:sldMk cId="2042666780" sldId="2709"/>
            <ac:cxnSpMk id="108" creationId="{008BEC98-A7CC-4569-8FFD-FA0F61EBD6CE}"/>
          </ac:cxnSpMkLst>
        </pc:cxnChg>
        <pc:cxnChg chg="add del mod">
          <ac:chgData name="Леонид Попов" userId="cc02b5965c9bae3b" providerId="LiveId" clId="{FDA48A03-3131-4F2F-A306-07301C63E802}" dt="2020-10-24T11:41:32.230" v="1873" actId="478"/>
          <ac:cxnSpMkLst>
            <pc:docMk/>
            <pc:sldMk cId="2042666780" sldId="2709"/>
            <ac:cxnSpMk id="109" creationId="{DC7ACF36-B812-44E7-A6AE-A4E014DE3014}"/>
          </ac:cxnSpMkLst>
        </pc:cxnChg>
        <pc:cxnChg chg="add del mod">
          <ac:chgData name="Леонид Попов" userId="cc02b5965c9bae3b" providerId="LiveId" clId="{FDA48A03-3131-4F2F-A306-07301C63E802}" dt="2020-10-24T11:41:32.230" v="1873" actId="478"/>
          <ac:cxnSpMkLst>
            <pc:docMk/>
            <pc:sldMk cId="2042666780" sldId="2709"/>
            <ac:cxnSpMk id="115" creationId="{5FCBE5C8-07F2-41BA-B38D-A3EC8103631F}"/>
          </ac:cxnSpMkLst>
        </pc:cxnChg>
        <pc:cxnChg chg="add del mod">
          <ac:chgData name="Леонид Попов" userId="cc02b5965c9bae3b" providerId="LiveId" clId="{FDA48A03-3131-4F2F-A306-07301C63E802}" dt="2020-10-24T11:41:32.230" v="1873" actId="478"/>
          <ac:cxnSpMkLst>
            <pc:docMk/>
            <pc:sldMk cId="2042666780" sldId="2709"/>
            <ac:cxnSpMk id="116" creationId="{04848AAC-656E-4F73-BED1-681302E2E2E0}"/>
          </ac:cxnSpMkLst>
        </pc:cxnChg>
        <pc:cxnChg chg="add del mod">
          <ac:chgData name="Леонид Попов" userId="cc02b5965c9bae3b" providerId="LiveId" clId="{FDA48A03-3131-4F2F-A306-07301C63E802}" dt="2020-10-24T11:41:32.230" v="1873" actId="478"/>
          <ac:cxnSpMkLst>
            <pc:docMk/>
            <pc:sldMk cId="2042666780" sldId="2709"/>
            <ac:cxnSpMk id="117" creationId="{8A5A6700-BD22-4F57-9730-F50870995240}"/>
          </ac:cxnSpMkLst>
        </pc:cxnChg>
        <pc:cxnChg chg="add del mod">
          <ac:chgData name="Леонид Попов" userId="cc02b5965c9bae3b" providerId="LiveId" clId="{FDA48A03-3131-4F2F-A306-07301C63E802}" dt="2020-10-24T11:41:32.230" v="1873" actId="478"/>
          <ac:cxnSpMkLst>
            <pc:docMk/>
            <pc:sldMk cId="2042666780" sldId="2709"/>
            <ac:cxnSpMk id="118" creationId="{C7357C4B-AEAC-4B2E-B7B4-E8555339E415}"/>
          </ac:cxnSpMkLst>
        </pc:cxnChg>
        <pc:cxnChg chg="add mod ord">
          <ac:chgData name="Леонид Попов" userId="cc02b5965c9bae3b" providerId="LiveId" clId="{FDA48A03-3131-4F2F-A306-07301C63E802}" dt="2020-10-24T11:54:36.863" v="2110" actId="1038"/>
          <ac:cxnSpMkLst>
            <pc:docMk/>
            <pc:sldMk cId="2042666780" sldId="2709"/>
            <ac:cxnSpMk id="120" creationId="{A8F75FEB-47AB-41B6-B55D-2AAA77D87C56}"/>
          </ac:cxnSpMkLst>
        </pc:cxnChg>
        <pc:cxnChg chg="add mod">
          <ac:chgData name="Леонид Попов" userId="cc02b5965c9bae3b" providerId="LiveId" clId="{FDA48A03-3131-4F2F-A306-07301C63E802}" dt="2020-10-24T11:53:44.888" v="2087" actId="1036"/>
          <ac:cxnSpMkLst>
            <pc:docMk/>
            <pc:sldMk cId="2042666780" sldId="2709"/>
            <ac:cxnSpMk id="129" creationId="{077B0A6A-4177-4715-AA46-4FDD5FCB54A9}"/>
          </ac:cxnSpMkLst>
        </pc:cxnChg>
        <pc:cxnChg chg="add mod">
          <ac:chgData name="Леонид Попов" userId="cc02b5965c9bae3b" providerId="LiveId" clId="{FDA48A03-3131-4F2F-A306-07301C63E802}" dt="2020-10-24T11:53:44.888" v="2087" actId="1036"/>
          <ac:cxnSpMkLst>
            <pc:docMk/>
            <pc:sldMk cId="2042666780" sldId="2709"/>
            <ac:cxnSpMk id="131" creationId="{4942711C-EE28-4B97-8305-C5DC1910F27D}"/>
          </ac:cxnSpMkLst>
        </pc:cxnChg>
      </pc:sldChg>
      <pc:sldChg chg="addSp delSp modSp add mod ord modNotes modNotesTx">
        <pc:chgData name="Леонид Попов" userId="cc02b5965c9bae3b" providerId="LiveId" clId="{FDA48A03-3131-4F2F-A306-07301C63E802}" dt="2020-10-24T15:16:33.909" v="9556" actId="403"/>
        <pc:sldMkLst>
          <pc:docMk/>
          <pc:sldMk cId="541296264" sldId="2710"/>
        </pc:sldMkLst>
        <pc:spChg chg="mod">
          <ac:chgData name="Леонид Попов" userId="cc02b5965c9bae3b" providerId="LiveId" clId="{FDA48A03-3131-4F2F-A306-07301C63E802}" dt="2020-10-24T13:26:27.114" v="4927" actId="20577"/>
          <ac:spMkLst>
            <pc:docMk/>
            <pc:sldMk cId="541296264" sldId="2710"/>
            <ac:spMk id="3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3:25:38.359" v="4869" actId="478"/>
          <ac:spMkLst>
            <pc:docMk/>
            <pc:sldMk cId="541296264" sldId="2710"/>
            <ac:spMk id="9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3:25:38.359" v="4869" actId="478"/>
          <ac:spMkLst>
            <pc:docMk/>
            <pc:sldMk cId="541296264" sldId="2710"/>
            <ac:spMk id="15" creationId="{C7940F41-F359-4D96-B2E9-ED77BCF886A0}"/>
          </ac:spMkLst>
        </pc:spChg>
        <pc:grpChg chg="del">
          <ac:chgData name="Леонид Попов" userId="cc02b5965c9bae3b" providerId="LiveId" clId="{FDA48A03-3131-4F2F-A306-07301C63E802}" dt="2020-10-24T13:25:38.359" v="4869" actId="478"/>
          <ac:grpSpMkLst>
            <pc:docMk/>
            <pc:sldMk cId="541296264" sldId="2710"/>
            <ac:grpSpMk id="10" creationId="{00000000-0000-0000-0000-000000000000}"/>
          </ac:grpSpMkLst>
        </pc:grpChg>
        <pc:graphicFrameChg chg="del">
          <ac:chgData name="Леонид Попов" userId="cc02b5965c9bae3b" providerId="LiveId" clId="{FDA48A03-3131-4F2F-A306-07301C63E802}" dt="2020-10-24T13:25:38.359" v="4869" actId="478"/>
          <ac:graphicFrameMkLst>
            <pc:docMk/>
            <pc:sldMk cId="541296264" sldId="2710"/>
            <ac:graphicFrameMk id="14" creationId="{00000000-0000-0000-0000-000000000000}"/>
          </ac:graphicFrameMkLst>
        </pc:graphicFrameChg>
        <pc:picChg chg="add mod">
          <ac:chgData name="Леонид Попов" userId="cc02b5965c9bae3b" providerId="LiveId" clId="{FDA48A03-3131-4F2F-A306-07301C63E802}" dt="2020-10-24T13:25:56.347" v="4875" actId="12788"/>
          <ac:picMkLst>
            <pc:docMk/>
            <pc:sldMk cId="541296264" sldId="2710"/>
            <ac:picMk id="2" creationId="{9D1802CD-5B44-4866-83C0-EAC2F184A716}"/>
          </ac:picMkLst>
        </pc:picChg>
      </pc:sldChg>
      <pc:sldChg chg="addSp delSp modSp add del mod">
        <pc:chgData name="Леонид Попов" userId="cc02b5965c9bae3b" providerId="LiveId" clId="{FDA48A03-3131-4F2F-A306-07301C63E802}" dt="2020-10-24T12:53:17.888" v="2925" actId="47"/>
        <pc:sldMkLst>
          <pc:docMk/>
          <pc:sldMk cId="1582994035" sldId="2710"/>
        </pc:sldMkLst>
        <pc:spChg chg="mod">
          <ac:chgData name="Леонид Попов" userId="cc02b5965c9bae3b" providerId="LiveId" clId="{FDA48A03-3131-4F2F-A306-07301C63E802}" dt="2020-10-24T12:52:07.590" v="2912" actId="1076"/>
          <ac:spMkLst>
            <pc:docMk/>
            <pc:sldMk cId="1582994035" sldId="2710"/>
            <ac:spMk id="155" creationId="{9A7D048A-7B1F-429A-BE97-6E9FCAD5D4FF}"/>
          </ac:spMkLst>
        </pc:spChg>
        <pc:picChg chg="add del mod">
          <ac:chgData name="Леонид Попов" userId="cc02b5965c9bae3b" providerId="LiveId" clId="{FDA48A03-3131-4F2F-A306-07301C63E802}" dt="2020-10-24T12:52:38.816" v="2915" actId="21"/>
          <ac:picMkLst>
            <pc:docMk/>
            <pc:sldMk cId="1582994035" sldId="2710"/>
            <ac:picMk id="4" creationId="{1F0EB75F-6411-4A3D-992F-08D726F0E593}"/>
          </ac:picMkLst>
        </pc:picChg>
        <pc:picChg chg="del">
          <ac:chgData name="Леонид Попов" userId="cc02b5965c9bae3b" providerId="LiveId" clId="{FDA48A03-3131-4F2F-A306-07301C63E802}" dt="2020-10-24T12:52:03.634" v="2911" actId="478"/>
          <ac:picMkLst>
            <pc:docMk/>
            <pc:sldMk cId="1582994035" sldId="2710"/>
            <ac:picMk id="147" creationId="{BA1A417E-0034-4845-BE5F-00407A6217FB}"/>
          </ac:picMkLst>
        </pc:picChg>
        <pc:picChg chg="mod">
          <ac:chgData name="Леонид Попов" userId="cc02b5965c9bae3b" providerId="LiveId" clId="{FDA48A03-3131-4F2F-A306-07301C63E802}" dt="2020-10-24T12:52:07.590" v="2912" actId="1076"/>
          <ac:picMkLst>
            <pc:docMk/>
            <pc:sldMk cId="1582994035" sldId="2710"/>
            <ac:picMk id="149" creationId="{B3F0A794-E2C1-4636-AD7F-D257584E4A0B}"/>
          </ac:picMkLst>
        </pc:picChg>
      </pc:sldChg>
      <pc:sldChg chg="add del">
        <pc:chgData name="Леонид Попов" userId="cc02b5965c9bae3b" providerId="LiveId" clId="{FDA48A03-3131-4F2F-A306-07301C63E802}" dt="2020-10-24T13:25:17.623" v="4867" actId="2890"/>
        <pc:sldMkLst>
          <pc:docMk/>
          <pc:sldMk cId="3819395886" sldId="2710"/>
        </pc:sldMkLst>
      </pc:sldChg>
      <pc:sldChg chg="addSp delSp modSp new mod modNotesTx">
        <pc:chgData name="Леонид Попов" userId="cc02b5965c9bae3b" providerId="LiveId" clId="{FDA48A03-3131-4F2F-A306-07301C63E802}" dt="2020-10-25T13:20:41.836" v="10695" actId="20577"/>
        <pc:sldMkLst>
          <pc:docMk/>
          <pc:sldMk cId="3743558147" sldId="2711"/>
        </pc:sldMkLst>
        <pc:spChg chg="add mod">
          <ac:chgData name="Леонид Попов" userId="cc02b5965c9bae3b" providerId="LiveId" clId="{FDA48A03-3131-4F2F-A306-07301C63E802}" dt="2020-10-24T14:45:26.874" v="9346"/>
          <ac:spMkLst>
            <pc:docMk/>
            <pc:sldMk cId="3743558147" sldId="2711"/>
            <ac:spMk id="2" creationId="{5D4BA1B2-8EFF-4440-9F22-1EAED0F9221D}"/>
          </ac:spMkLst>
        </pc:spChg>
        <pc:spChg chg="mod">
          <ac:chgData name="Леонид Попов" userId="cc02b5965c9bae3b" providerId="LiveId" clId="{FDA48A03-3131-4F2F-A306-07301C63E802}" dt="2020-10-24T16:50:38.717" v="9823" actId="1036"/>
          <ac:spMkLst>
            <pc:docMk/>
            <pc:sldMk cId="3743558147" sldId="2711"/>
            <ac:spMk id="5" creationId="{EEEB7398-D734-466E-810F-41E228256249}"/>
          </ac:spMkLst>
        </pc:spChg>
        <pc:spChg chg="mod">
          <ac:chgData name="Леонид Попов" userId="cc02b5965c9bae3b" providerId="LiveId" clId="{FDA48A03-3131-4F2F-A306-07301C63E802}" dt="2020-10-24T16:49:05.453" v="9787" actId="1036"/>
          <ac:spMkLst>
            <pc:docMk/>
            <pc:sldMk cId="3743558147" sldId="2711"/>
            <ac:spMk id="7" creationId="{12527E27-B603-4635-B416-39270E7F7AB8}"/>
          </ac:spMkLst>
        </pc:spChg>
        <pc:spChg chg="add mod">
          <ac:chgData name="Леонид Попов" userId="cc02b5965c9bae3b" providerId="LiveId" clId="{FDA48A03-3131-4F2F-A306-07301C63E802}" dt="2020-10-24T16:53:56.330" v="9863" actId="688"/>
          <ac:spMkLst>
            <pc:docMk/>
            <pc:sldMk cId="3743558147" sldId="2711"/>
            <ac:spMk id="8" creationId="{BD760E3E-EE17-4701-90F4-4F9FBDEFA0F1}"/>
          </ac:spMkLst>
        </pc:spChg>
        <pc:spChg chg="add mod">
          <ac:chgData name="Леонид Попов" userId="cc02b5965c9bae3b" providerId="LiveId" clId="{FDA48A03-3131-4F2F-A306-07301C63E802}" dt="2020-10-24T14:47:32.938" v="9452" actId="20577"/>
          <ac:spMkLst>
            <pc:docMk/>
            <pc:sldMk cId="3743558147" sldId="2711"/>
            <ac:spMk id="10" creationId="{7515438E-6C5E-4CAA-B516-7F5CC4838E3E}"/>
          </ac:spMkLst>
        </pc:spChg>
        <pc:spChg chg="add mod">
          <ac:chgData name="Леонид Попов" userId="cc02b5965c9bae3b" providerId="LiveId" clId="{FDA48A03-3131-4F2F-A306-07301C63E802}" dt="2020-10-24T16:49:12.255" v="9788" actId="1076"/>
          <ac:spMkLst>
            <pc:docMk/>
            <pc:sldMk cId="3743558147" sldId="2711"/>
            <ac:spMk id="11" creationId="{49175AC5-3E14-4BAB-BFEF-07FC82C24323}"/>
          </ac:spMkLst>
        </pc:spChg>
        <pc:spChg chg="add del mod">
          <ac:chgData name="Леонид Попов" userId="cc02b5965c9bae3b" providerId="LiveId" clId="{FDA48A03-3131-4F2F-A306-07301C63E802}" dt="2020-10-24T16:56:27.425" v="9887" actId="478"/>
          <ac:spMkLst>
            <pc:docMk/>
            <pc:sldMk cId="3743558147" sldId="2711"/>
            <ac:spMk id="12" creationId="{B534A927-0044-4B75-B8C2-188A85FE6FF5}"/>
          </ac:spMkLst>
        </pc:spChg>
        <pc:grpChg chg="add mod">
          <ac:chgData name="Леонид Попов" userId="cc02b5965c9bae3b" providerId="LiveId" clId="{FDA48A03-3131-4F2F-A306-07301C63E802}" dt="2020-10-24T16:52:29.435" v="9830" actId="1076"/>
          <ac:grpSpMkLst>
            <pc:docMk/>
            <pc:sldMk cId="3743558147" sldId="2711"/>
            <ac:grpSpMk id="3" creationId="{E4B208EE-5329-4723-B75C-1DE43E15A471}"/>
          </ac:grpSpMkLst>
        </pc:grpChg>
        <pc:grpChg chg="mod">
          <ac:chgData name="Леонид Попов" userId="cc02b5965c9bae3b" providerId="LiveId" clId="{FDA48A03-3131-4F2F-A306-07301C63E802}" dt="2020-10-24T16:48:13.264" v="9733" actId="571"/>
          <ac:grpSpMkLst>
            <pc:docMk/>
            <pc:sldMk cId="3743558147" sldId="2711"/>
            <ac:grpSpMk id="4" creationId="{002B10BA-C4AF-41EF-A8F3-3703D6044A0D}"/>
          </ac:grpSpMkLst>
        </pc:grpChg>
        <pc:graphicFrameChg chg="mod">
          <ac:chgData name="Леонид Попов" userId="cc02b5965c9bae3b" providerId="LiveId" clId="{FDA48A03-3131-4F2F-A306-07301C63E802}" dt="2020-10-24T16:50:28.845" v="9816"/>
          <ac:graphicFrameMkLst>
            <pc:docMk/>
            <pc:sldMk cId="3743558147" sldId="2711"/>
            <ac:graphicFrameMk id="6" creationId="{823E948B-B8C2-4F8B-8CC0-9E2EFF734BE8}"/>
          </ac:graphicFrameMkLst>
        </pc:graphicFrameChg>
      </pc:sldChg>
      <pc:sldChg chg="add">
        <pc:chgData name="Леонид Попов" userId="cc02b5965c9bae3b" providerId="LiveId" clId="{FDA48A03-3131-4F2F-A306-07301C63E802}" dt="2020-10-25T17:48:30.429" v="21638"/>
        <pc:sldMkLst>
          <pc:docMk/>
          <pc:sldMk cId="785998685" sldId="2712"/>
        </pc:sldMkLst>
      </pc:sldChg>
      <pc:sldChg chg="addSp modSp new del mod ord modShow modNotesTx">
        <pc:chgData name="Леонид Попов" userId="cc02b5965c9bae3b" providerId="LiveId" clId="{FDA48A03-3131-4F2F-A306-07301C63E802}" dt="2020-10-25T17:48:27.025" v="21637" actId="2696"/>
        <pc:sldMkLst>
          <pc:docMk/>
          <pc:sldMk cId="2683052125" sldId="2712"/>
        </pc:sldMkLst>
        <pc:spChg chg="add mod">
          <ac:chgData name="Леонид Попов" userId="cc02b5965c9bae3b" providerId="LiveId" clId="{FDA48A03-3131-4F2F-A306-07301C63E802}" dt="2020-10-24T17:03:26.992" v="9941" actId="20577"/>
          <ac:spMkLst>
            <pc:docMk/>
            <pc:sldMk cId="2683052125" sldId="2712"/>
            <ac:spMk id="5" creationId="{68F6C310-34D7-4AB2-8D7D-EB0E5DD87498}"/>
          </ac:spMkLst>
        </pc:spChg>
        <pc:spChg chg="add mod">
          <ac:chgData name="Леонид Попов" userId="cc02b5965c9bae3b" providerId="LiveId" clId="{FDA48A03-3131-4F2F-A306-07301C63E802}" dt="2020-10-24T17:04:52.606" v="9977" actId="1076"/>
          <ac:spMkLst>
            <pc:docMk/>
            <pc:sldMk cId="2683052125" sldId="2712"/>
            <ac:spMk id="6" creationId="{E729B6D4-2AFB-4906-86E3-F7883CC79D58}"/>
          </ac:spMkLst>
        </pc:spChg>
        <pc:spChg chg="add mod">
          <ac:chgData name="Леонид Попов" userId="cc02b5965c9bae3b" providerId="LiveId" clId="{FDA48A03-3131-4F2F-A306-07301C63E802}" dt="2020-10-24T17:06:22.932" v="10059" actId="1076"/>
          <ac:spMkLst>
            <pc:docMk/>
            <pc:sldMk cId="2683052125" sldId="2712"/>
            <ac:spMk id="9" creationId="{7848E7B9-C6B7-462B-8E3A-7D913A8575DF}"/>
          </ac:spMkLst>
        </pc:spChg>
        <pc:spChg chg="add mod">
          <ac:chgData name="Леонид Попов" userId="cc02b5965c9bae3b" providerId="LiveId" clId="{FDA48A03-3131-4F2F-A306-07301C63E802}" dt="2020-10-24T17:06:56.890" v="10074" actId="1076"/>
          <ac:spMkLst>
            <pc:docMk/>
            <pc:sldMk cId="2683052125" sldId="2712"/>
            <ac:spMk id="11" creationId="{79F369D3-2102-4562-8646-A8C527452023}"/>
          </ac:spMkLst>
        </pc:spChg>
        <pc:spChg chg="add mod ord">
          <ac:chgData name="Леонид Попов" userId="cc02b5965c9bae3b" providerId="LiveId" clId="{FDA48A03-3131-4F2F-A306-07301C63E802}" dt="2020-10-25T17:16:22.233" v="19305" actId="1038"/>
          <ac:spMkLst>
            <pc:docMk/>
            <pc:sldMk cId="2683052125" sldId="2712"/>
            <ac:spMk id="13" creationId="{5811B531-8260-4A38-818E-58F245053B34}"/>
          </ac:spMkLst>
        </pc:spChg>
        <pc:spChg chg="add mod ord">
          <ac:chgData name="Леонид Попов" userId="cc02b5965c9bae3b" providerId="LiveId" clId="{FDA48A03-3131-4F2F-A306-07301C63E802}" dt="2020-10-24T17:08:44.022" v="10083" actId="207"/>
          <ac:spMkLst>
            <pc:docMk/>
            <pc:sldMk cId="2683052125" sldId="2712"/>
            <ac:spMk id="14" creationId="{5BCE1A79-1955-4D53-8443-B86E9F7ABAE7}"/>
          </ac:spMkLst>
        </pc:spChg>
        <pc:spChg chg="add mod ord">
          <ac:chgData name="Леонид Попов" userId="cc02b5965c9bae3b" providerId="LiveId" clId="{FDA48A03-3131-4F2F-A306-07301C63E802}" dt="2020-10-24T17:09:10.107" v="10087" actId="1076"/>
          <ac:spMkLst>
            <pc:docMk/>
            <pc:sldMk cId="2683052125" sldId="2712"/>
            <ac:spMk id="15" creationId="{76594CFE-C33C-431D-BFCC-08DE8E263AF8}"/>
          </ac:spMkLst>
        </pc:spChg>
        <pc:picChg chg="add mod">
          <ac:chgData name="Леонид Попов" userId="cc02b5965c9bae3b" providerId="LiveId" clId="{FDA48A03-3131-4F2F-A306-07301C63E802}" dt="2020-10-24T17:04:42.529" v="9975" actId="1076"/>
          <ac:picMkLst>
            <pc:docMk/>
            <pc:sldMk cId="2683052125" sldId="2712"/>
            <ac:picMk id="3" creationId="{CEDFC07A-6CA9-40D3-B9A5-07121A673676}"/>
          </ac:picMkLst>
        </pc:picChg>
        <pc:cxnChg chg="add mod">
          <ac:chgData name="Леонид Попов" userId="cc02b5965c9bae3b" providerId="LiveId" clId="{FDA48A03-3131-4F2F-A306-07301C63E802}" dt="2020-10-24T17:05:19.616" v="9985" actId="692"/>
          <ac:cxnSpMkLst>
            <pc:docMk/>
            <pc:sldMk cId="2683052125" sldId="2712"/>
            <ac:cxnSpMk id="8" creationId="{6B206BC4-9424-4956-A1B5-294F17591C5C}"/>
          </ac:cxnSpMkLst>
        </pc:cxnChg>
        <pc:cxnChg chg="add mod">
          <ac:chgData name="Леонид Попов" userId="cc02b5965c9bae3b" providerId="LiveId" clId="{FDA48A03-3131-4F2F-A306-07301C63E802}" dt="2020-10-24T17:06:28.780" v="10062" actId="1036"/>
          <ac:cxnSpMkLst>
            <pc:docMk/>
            <pc:sldMk cId="2683052125" sldId="2712"/>
            <ac:cxnSpMk id="10" creationId="{67CBD7A9-37C8-4E4E-9D4A-103A2CB2423D}"/>
          </ac:cxnSpMkLst>
        </pc:cxnChg>
        <pc:cxnChg chg="add mod">
          <ac:chgData name="Леонид Попов" userId="cc02b5965c9bae3b" providerId="LiveId" clId="{FDA48A03-3131-4F2F-A306-07301C63E802}" dt="2020-10-24T17:06:53.944" v="10073" actId="571"/>
          <ac:cxnSpMkLst>
            <pc:docMk/>
            <pc:sldMk cId="2683052125" sldId="2712"/>
            <ac:cxnSpMk id="12" creationId="{C9135597-9A10-46F2-8530-DEEBC38EBD97}"/>
          </ac:cxnSpMkLst>
        </pc:cxnChg>
      </pc:sldChg>
      <pc:sldChg chg="addSp delSp modSp new mod modNotesTx">
        <pc:chgData name="Леонид Попов" userId="cc02b5965c9bae3b" providerId="LiveId" clId="{FDA48A03-3131-4F2F-A306-07301C63E802}" dt="2020-10-25T17:00:01.069" v="17659" actId="20577"/>
        <pc:sldMkLst>
          <pc:docMk/>
          <pc:sldMk cId="1785321096" sldId="2713"/>
        </pc:sldMkLst>
        <pc:spChg chg="add mod">
          <ac:chgData name="Леонид Попов" userId="cc02b5965c9bae3b" providerId="LiveId" clId="{FDA48A03-3131-4F2F-A306-07301C63E802}" dt="2020-10-25T15:02:17.575" v="10772" actId="6549"/>
          <ac:spMkLst>
            <pc:docMk/>
            <pc:sldMk cId="1785321096" sldId="2713"/>
            <ac:spMk id="3" creationId="{ECCBC75B-19ED-445F-BDC5-F376143368F5}"/>
          </ac:spMkLst>
        </pc:spChg>
        <pc:spChg chg="add mod">
          <ac:chgData name="Леонид Попов" userId="cc02b5965c9bae3b" providerId="LiveId" clId="{FDA48A03-3131-4F2F-A306-07301C63E802}" dt="2020-10-25T16:53:21.891" v="16624" actId="164"/>
          <ac:spMkLst>
            <pc:docMk/>
            <pc:sldMk cId="1785321096" sldId="2713"/>
            <ac:spMk id="4" creationId="{811B9C00-AF8E-416E-8DFE-CDF6B93D201E}"/>
          </ac:spMkLst>
        </pc:spChg>
        <pc:spChg chg="mod topLvl">
          <ac:chgData name="Леонид Попов" userId="cc02b5965c9bae3b" providerId="LiveId" clId="{FDA48A03-3131-4F2F-A306-07301C63E802}" dt="2020-10-25T15:01:25.993" v="10763" actId="208"/>
          <ac:spMkLst>
            <pc:docMk/>
            <pc:sldMk cId="1785321096" sldId="2713"/>
            <ac:spMk id="5" creationId="{79BC1C9E-9AE8-4A2F-BCA9-FB61F7797C9A}"/>
          </ac:spMkLst>
        </pc:spChg>
        <pc:spChg chg="mod topLvl">
          <ac:chgData name="Леонид Попов" userId="cc02b5965c9bae3b" providerId="LiveId" clId="{FDA48A03-3131-4F2F-A306-07301C63E802}" dt="2020-10-25T15:01:13.087" v="10762" actId="208"/>
          <ac:spMkLst>
            <pc:docMk/>
            <pc:sldMk cId="1785321096" sldId="2713"/>
            <ac:spMk id="6" creationId="{FCC057F8-3325-4887-80D6-410518275FC8}"/>
          </ac:spMkLst>
        </pc:spChg>
        <pc:spChg chg="mod topLvl">
          <ac:chgData name="Леонид Попов" userId="cc02b5965c9bae3b" providerId="LiveId" clId="{FDA48A03-3131-4F2F-A306-07301C63E802}" dt="2020-10-25T16:52:39.735" v="16623" actId="1037"/>
          <ac:spMkLst>
            <pc:docMk/>
            <pc:sldMk cId="1785321096" sldId="2713"/>
            <ac:spMk id="8" creationId="{A5D28B67-A8A9-4B73-9237-204003AB1E00}"/>
          </ac:spMkLst>
        </pc:spChg>
        <pc:spChg chg="mod">
          <ac:chgData name="Леонид Попов" userId="cc02b5965c9bae3b" providerId="LiveId" clId="{FDA48A03-3131-4F2F-A306-07301C63E802}" dt="2020-10-25T15:01:04.536" v="10761" actId="208"/>
          <ac:spMkLst>
            <pc:docMk/>
            <pc:sldMk cId="1785321096" sldId="2713"/>
            <ac:spMk id="9" creationId="{1C686AC7-04A7-4844-B3BC-C2DA3007B9E1}"/>
          </ac:spMkLst>
        </pc:spChg>
        <pc:spChg chg="mod">
          <ac:chgData name="Леонид Попов" userId="cc02b5965c9bae3b" providerId="LiveId" clId="{FDA48A03-3131-4F2F-A306-07301C63E802}" dt="2020-10-24T17:28:25.079" v="10352" actId="165"/>
          <ac:spMkLst>
            <pc:docMk/>
            <pc:sldMk cId="1785321096" sldId="2713"/>
            <ac:spMk id="10" creationId="{2091944C-5359-4232-8353-F5081D095CFA}"/>
          </ac:spMkLst>
        </pc:spChg>
        <pc:spChg chg="mod">
          <ac:chgData name="Леонид Попов" userId="cc02b5965c9bae3b" providerId="LiveId" clId="{FDA48A03-3131-4F2F-A306-07301C63E802}" dt="2020-10-25T15:00:30.157" v="10757" actId="207"/>
          <ac:spMkLst>
            <pc:docMk/>
            <pc:sldMk cId="1785321096" sldId="2713"/>
            <ac:spMk id="11" creationId="{5A661BD2-1F12-4EA9-A868-FAAE45A4FD81}"/>
          </ac:spMkLst>
        </pc:spChg>
        <pc:spChg chg="mod">
          <ac:chgData name="Леонид Попов" userId="cc02b5965c9bae3b" providerId="LiveId" clId="{FDA48A03-3131-4F2F-A306-07301C63E802}" dt="2020-10-25T15:00:44.889" v="10759" actId="208"/>
          <ac:spMkLst>
            <pc:docMk/>
            <pc:sldMk cId="1785321096" sldId="2713"/>
            <ac:spMk id="12" creationId="{D85D0618-F7FC-4ABF-B24A-687942546D22}"/>
          </ac:spMkLst>
        </pc:spChg>
        <pc:spChg chg="mod">
          <ac:chgData name="Леонид Попов" userId="cc02b5965c9bae3b" providerId="LiveId" clId="{FDA48A03-3131-4F2F-A306-07301C63E802}" dt="2020-10-24T17:13:47.588" v="10247"/>
          <ac:spMkLst>
            <pc:docMk/>
            <pc:sldMk cId="1785321096" sldId="2713"/>
            <ac:spMk id="14" creationId="{9410AAA1-D1BA-47F0-8916-EA878E6760CE}"/>
          </ac:spMkLst>
        </pc:spChg>
        <pc:spChg chg="mod">
          <ac:chgData name="Леонид Попов" userId="cc02b5965c9bae3b" providerId="LiveId" clId="{FDA48A03-3131-4F2F-A306-07301C63E802}" dt="2020-10-24T17:13:47.588" v="10247"/>
          <ac:spMkLst>
            <pc:docMk/>
            <pc:sldMk cId="1785321096" sldId="2713"/>
            <ac:spMk id="15" creationId="{95218DD5-C76A-4462-8F9F-A196C024F751}"/>
          </ac:spMkLst>
        </pc:spChg>
        <pc:spChg chg="mod">
          <ac:chgData name="Леонид Попов" userId="cc02b5965c9bae3b" providerId="LiveId" clId="{FDA48A03-3131-4F2F-A306-07301C63E802}" dt="2020-10-24T17:13:47.588" v="10247"/>
          <ac:spMkLst>
            <pc:docMk/>
            <pc:sldMk cId="1785321096" sldId="2713"/>
            <ac:spMk id="18" creationId="{96F6AB18-537B-4EB7-8DA4-93C80ACD77E9}"/>
          </ac:spMkLst>
        </pc:spChg>
        <pc:spChg chg="mod">
          <ac:chgData name="Леонид Попов" userId="cc02b5965c9bae3b" providerId="LiveId" clId="{FDA48A03-3131-4F2F-A306-07301C63E802}" dt="2020-10-24T17:13:47.588" v="10247"/>
          <ac:spMkLst>
            <pc:docMk/>
            <pc:sldMk cId="1785321096" sldId="2713"/>
            <ac:spMk id="19" creationId="{AA167B3B-BB2D-47A9-BAA6-6F48C0AB3BA3}"/>
          </ac:spMkLst>
        </pc:spChg>
        <pc:spChg chg="mod">
          <ac:chgData name="Леонид Попов" userId="cc02b5965c9bae3b" providerId="LiveId" clId="{FDA48A03-3131-4F2F-A306-07301C63E802}" dt="2020-10-24T17:13:47.588" v="10247"/>
          <ac:spMkLst>
            <pc:docMk/>
            <pc:sldMk cId="1785321096" sldId="2713"/>
            <ac:spMk id="20" creationId="{04BFC481-C540-40A1-AA9D-E0DB271C478F}"/>
          </ac:spMkLst>
        </pc:spChg>
        <pc:spChg chg="mod">
          <ac:chgData name="Леонид Попов" userId="cc02b5965c9bae3b" providerId="LiveId" clId="{FDA48A03-3131-4F2F-A306-07301C63E802}" dt="2020-10-24T17:16:17.761" v="10281" actId="14100"/>
          <ac:spMkLst>
            <pc:docMk/>
            <pc:sldMk cId="1785321096" sldId="2713"/>
            <ac:spMk id="22" creationId="{A1178B7C-F452-4D19-8C2E-B4AE7EB4DA1A}"/>
          </ac:spMkLst>
        </pc:spChg>
        <pc:spChg chg="add mod">
          <ac:chgData name="Леонид Попов" userId="cc02b5965c9bae3b" providerId="LiveId" clId="{FDA48A03-3131-4F2F-A306-07301C63E802}" dt="2020-10-25T16:53:21.891" v="16624" actId="164"/>
          <ac:spMkLst>
            <pc:docMk/>
            <pc:sldMk cId="1785321096" sldId="2713"/>
            <ac:spMk id="23" creationId="{071E34F3-FEF8-402F-B421-1AB4A622FA9E}"/>
          </ac:spMkLst>
        </pc:spChg>
        <pc:spChg chg="mod">
          <ac:chgData name="Леонид Попов" userId="cc02b5965c9bae3b" providerId="LiveId" clId="{FDA48A03-3131-4F2F-A306-07301C63E802}" dt="2020-10-24T17:16:10.873" v="10279" actId="1076"/>
          <ac:spMkLst>
            <pc:docMk/>
            <pc:sldMk cId="1785321096" sldId="2713"/>
            <ac:spMk id="23" creationId="{0FC236C7-AB56-4D28-8213-358229AA82F9}"/>
          </ac:spMkLst>
        </pc:spChg>
        <pc:spChg chg="mod">
          <ac:chgData name="Леонид Попов" userId="cc02b5965c9bae3b" providerId="LiveId" clId="{FDA48A03-3131-4F2F-A306-07301C63E802}" dt="2020-10-24T17:16:44.320" v="10296" actId="1038"/>
          <ac:spMkLst>
            <pc:docMk/>
            <pc:sldMk cId="1785321096" sldId="2713"/>
            <ac:spMk id="24" creationId="{B36E900D-2FBA-4A3E-8B5D-1FA04D4024A8}"/>
          </ac:spMkLst>
        </pc:spChg>
        <pc:spChg chg="add del mod">
          <ac:chgData name="Леонид Попов" userId="cc02b5965c9bae3b" providerId="LiveId" clId="{FDA48A03-3131-4F2F-A306-07301C63E802}" dt="2020-10-24T17:22:23.164" v="10301" actId="478"/>
          <ac:spMkLst>
            <pc:docMk/>
            <pc:sldMk cId="1785321096" sldId="2713"/>
            <ac:spMk id="25" creationId="{04E97044-DA36-4C86-A683-56E5F9697A9B}"/>
          </ac:spMkLst>
        </pc:spChg>
        <pc:spChg chg="add mod">
          <ac:chgData name="Леонид Попов" userId="cc02b5965c9bae3b" providerId="LiveId" clId="{FDA48A03-3131-4F2F-A306-07301C63E802}" dt="2020-10-25T16:52:28.216" v="16615" actId="1038"/>
          <ac:spMkLst>
            <pc:docMk/>
            <pc:sldMk cId="1785321096" sldId="2713"/>
            <ac:spMk id="26" creationId="{82493BE1-C2F5-47C8-8012-16B8FD522086}"/>
          </ac:spMkLst>
        </pc:spChg>
        <pc:spChg chg="add mod">
          <ac:chgData name="Леонид Попов" userId="cc02b5965c9bae3b" providerId="LiveId" clId="{FDA48A03-3131-4F2F-A306-07301C63E802}" dt="2020-10-25T16:52:28.216" v="16615" actId="1038"/>
          <ac:spMkLst>
            <pc:docMk/>
            <pc:sldMk cId="1785321096" sldId="2713"/>
            <ac:spMk id="27" creationId="{1074B261-4A50-4E48-B3AE-A092B1EF5966}"/>
          </ac:spMkLst>
        </pc:spChg>
        <pc:spChg chg="add mod">
          <ac:chgData name="Леонид Попов" userId="cc02b5965c9bae3b" providerId="LiveId" clId="{FDA48A03-3131-4F2F-A306-07301C63E802}" dt="2020-10-25T16:52:28.216" v="16615" actId="1038"/>
          <ac:spMkLst>
            <pc:docMk/>
            <pc:sldMk cId="1785321096" sldId="2713"/>
            <ac:spMk id="28" creationId="{B26A8FFC-D4B2-4FC2-8E6F-0768B03B44AF}"/>
          </ac:spMkLst>
        </pc:spChg>
        <pc:spChg chg="add mod">
          <ac:chgData name="Леонид Попов" userId="cc02b5965c9bae3b" providerId="LiveId" clId="{FDA48A03-3131-4F2F-A306-07301C63E802}" dt="2020-10-25T16:52:28.216" v="16615" actId="1038"/>
          <ac:spMkLst>
            <pc:docMk/>
            <pc:sldMk cId="1785321096" sldId="2713"/>
            <ac:spMk id="29" creationId="{BC3184C9-B014-43B0-9353-E270E6151123}"/>
          </ac:spMkLst>
        </pc:spChg>
        <pc:spChg chg="add mod">
          <ac:chgData name="Леонид Попов" userId="cc02b5965c9bae3b" providerId="LiveId" clId="{FDA48A03-3131-4F2F-A306-07301C63E802}" dt="2020-10-25T16:52:28.216" v="16615" actId="1038"/>
          <ac:spMkLst>
            <pc:docMk/>
            <pc:sldMk cId="1785321096" sldId="2713"/>
            <ac:spMk id="30" creationId="{91ACB16C-D05F-432B-A47D-FEC25B6B3638}"/>
          </ac:spMkLst>
        </pc:spChg>
        <pc:spChg chg="add mod">
          <ac:chgData name="Леонид Попов" userId="cc02b5965c9bae3b" providerId="LiveId" clId="{FDA48A03-3131-4F2F-A306-07301C63E802}" dt="2020-10-25T16:52:28.216" v="16615" actId="1038"/>
          <ac:spMkLst>
            <pc:docMk/>
            <pc:sldMk cId="1785321096" sldId="2713"/>
            <ac:spMk id="31" creationId="{86C638D2-12C0-4191-B04A-7DAA3FB68CEF}"/>
          </ac:spMkLst>
        </pc:spChg>
        <pc:spChg chg="add mod">
          <ac:chgData name="Леонид Попов" userId="cc02b5965c9bae3b" providerId="LiveId" clId="{FDA48A03-3131-4F2F-A306-07301C63E802}" dt="2020-10-25T16:52:28.216" v="16615" actId="1038"/>
          <ac:spMkLst>
            <pc:docMk/>
            <pc:sldMk cId="1785321096" sldId="2713"/>
            <ac:spMk id="32" creationId="{912034F7-B750-400A-90AF-53FB0A6068FC}"/>
          </ac:spMkLst>
        </pc:spChg>
        <pc:grpChg chg="add mod">
          <ac:chgData name="Леонид Попов" userId="cc02b5965c9bae3b" providerId="LiveId" clId="{FDA48A03-3131-4F2F-A306-07301C63E802}" dt="2020-10-25T16:52:39.735" v="16623" actId="1037"/>
          <ac:grpSpMkLst>
            <pc:docMk/>
            <pc:sldMk cId="1785321096" sldId="2713"/>
            <ac:grpSpMk id="2" creationId="{341B1789-3F25-4C95-B142-9FEFC5A48251}"/>
          </ac:grpSpMkLst>
        </pc:grpChg>
        <pc:grpChg chg="add del mod">
          <ac:chgData name="Леонид Попов" userId="cc02b5965c9bae3b" providerId="LiveId" clId="{FDA48A03-3131-4F2F-A306-07301C63E802}" dt="2020-10-24T17:28:25.079" v="10352" actId="165"/>
          <ac:grpSpMkLst>
            <pc:docMk/>
            <pc:sldMk cId="1785321096" sldId="2713"/>
            <ac:grpSpMk id="4" creationId="{513EF93B-AE0C-435E-ADEB-6A84A68B9273}"/>
          </ac:grpSpMkLst>
        </pc:grpChg>
        <pc:grpChg chg="mod topLvl">
          <ac:chgData name="Леонид Попов" userId="cc02b5965c9bae3b" providerId="LiveId" clId="{FDA48A03-3131-4F2F-A306-07301C63E802}" dt="2020-10-25T15:00:56.683" v="10760" actId="164"/>
          <ac:grpSpMkLst>
            <pc:docMk/>
            <pc:sldMk cId="1785321096" sldId="2713"/>
            <ac:grpSpMk id="7" creationId="{12453CF8-7448-4532-9FA9-2535178AA80C}"/>
          </ac:grpSpMkLst>
        </pc:grpChg>
        <pc:grpChg chg="add mod">
          <ac:chgData name="Леонид Попов" userId="cc02b5965c9bae3b" providerId="LiveId" clId="{FDA48A03-3131-4F2F-A306-07301C63E802}" dt="2020-10-25T16:52:28.216" v="16615" actId="1038"/>
          <ac:grpSpMkLst>
            <pc:docMk/>
            <pc:sldMk cId="1785321096" sldId="2713"/>
            <ac:grpSpMk id="13" creationId="{F2423BF2-E19F-4122-AB58-F2C248D70B0D}"/>
          </ac:grpSpMkLst>
        </pc:grpChg>
        <pc:grpChg chg="add mod">
          <ac:chgData name="Леонид Попов" userId="cc02b5965c9bae3b" providerId="LiveId" clId="{FDA48A03-3131-4F2F-A306-07301C63E802}" dt="2020-10-25T16:53:26.451" v="16625" actId="1076"/>
          <ac:grpSpMkLst>
            <pc:docMk/>
            <pc:sldMk cId="1785321096" sldId="2713"/>
            <ac:grpSpMk id="17" creationId="{C06B78C8-1A39-4D79-96B0-BA49318DF445}"/>
          </ac:grpSpMkLst>
        </pc:grpChg>
        <pc:grpChg chg="add del mod">
          <ac:chgData name="Леонид Попов" userId="cc02b5965c9bae3b" providerId="LiveId" clId="{FDA48A03-3131-4F2F-A306-07301C63E802}" dt="2020-10-24T17:14:06.019" v="10266" actId="478"/>
          <ac:grpSpMkLst>
            <pc:docMk/>
            <pc:sldMk cId="1785321096" sldId="2713"/>
            <ac:grpSpMk id="17" creationId="{D12E3900-D1C8-44A2-939A-BDDE40F2B63C}"/>
          </ac:grpSpMkLst>
        </pc:grpChg>
        <pc:grpChg chg="add del mod">
          <ac:chgData name="Леонид Попов" userId="cc02b5965c9bae3b" providerId="LiveId" clId="{FDA48A03-3131-4F2F-A306-07301C63E802}" dt="2020-10-24T17:21:42.976" v="10297" actId="478"/>
          <ac:grpSpMkLst>
            <pc:docMk/>
            <pc:sldMk cId="1785321096" sldId="2713"/>
            <ac:grpSpMk id="21" creationId="{1F6521A8-C0F6-48FE-A7D1-6F78599E8F21}"/>
          </ac:grpSpMkLst>
        </pc:grpChg>
        <pc:graphicFrameChg chg="add mod">
          <ac:chgData name="Леонид Попов" userId="cc02b5965c9bae3b" providerId="LiveId" clId="{FDA48A03-3131-4F2F-A306-07301C63E802}" dt="2020-10-25T16:52:28.216" v="16615" actId="1038"/>
          <ac:graphicFrameMkLst>
            <pc:docMk/>
            <pc:sldMk cId="1785321096" sldId="2713"/>
            <ac:graphicFrameMk id="16" creationId="{6912F192-9A87-4110-933D-53B0B6044358}"/>
          </ac:graphicFrameMkLst>
        </pc:graphicFrameChg>
      </pc:sldChg>
      <pc:sldChg chg="addSp delSp modSp add del mod modNotesTx">
        <pc:chgData name="Леонид Попов" userId="cc02b5965c9bae3b" providerId="LiveId" clId="{FDA48A03-3131-4F2F-A306-07301C63E802}" dt="2020-10-25T17:00:13.329" v="17660" actId="2696"/>
        <pc:sldMkLst>
          <pc:docMk/>
          <pc:sldMk cId="1399880721" sldId="2714"/>
        </pc:sldMkLst>
        <pc:spChg chg="mod">
          <ac:chgData name="Леонид Попов" userId="cc02b5965c9bae3b" providerId="LiveId" clId="{FDA48A03-3131-4F2F-A306-07301C63E802}" dt="2020-10-25T16:01:14.295" v="15122" actId="6549"/>
          <ac:spMkLst>
            <pc:docMk/>
            <pc:sldMk cId="1399880721" sldId="2714"/>
            <ac:spMk id="3" creationId="{ECCBC75B-19ED-445F-BDC5-F376143368F5}"/>
          </ac:spMkLst>
        </pc:spChg>
        <pc:spChg chg="add del">
          <ac:chgData name="Леонид Попов" userId="cc02b5965c9bae3b" providerId="LiveId" clId="{FDA48A03-3131-4F2F-A306-07301C63E802}" dt="2020-10-25T15:57:41.257" v="15031" actId="22"/>
          <ac:spMkLst>
            <pc:docMk/>
            <pc:sldMk cId="1399880721" sldId="2714"/>
            <ac:spMk id="4" creationId="{815544D2-BF0A-4937-8C46-E2AC6BA383CF}"/>
          </ac:spMkLst>
        </pc:spChg>
        <pc:spChg chg="del">
          <ac:chgData name="Леонид Попов" userId="cc02b5965c9bae3b" providerId="LiveId" clId="{FDA48A03-3131-4F2F-A306-07301C63E802}" dt="2020-10-25T15:55:58.035" v="15015" actId="478"/>
          <ac:spMkLst>
            <pc:docMk/>
            <pc:sldMk cId="1399880721" sldId="2714"/>
            <ac:spMk id="8" creationId="{A5D28B67-A8A9-4B73-9237-204003AB1E00}"/>
          </ac:spMkLst>
        </pc:spChg>
        <pc:spChg chg="add del mod">
          <ac:chgData name="Леонид Попов" userId="cc02b5965c9bae3b" providerId="LiveId" clId="{FDA48A03-3131-4F2F-A306-07301C63E802}" dt="2020-10-25T16:50:42.276" v="16555" actId="21"/>
          <ac:spMkLst>
            <pc:docMk/>
            <pc:sldMk cId="1399880721" sldId="2714"/>
            <ac:spMk id="18" creationId="{F47476B3-EAC4-4A27-AD8A-3BCBE67FF875}"/>
          </ac:spMkLst>
        </pc:spChg>
        <pc:spChg chg="mod">
          <ac:chgData name="Леонид Попов" userId="cc02b5965c9bae3b" providerId="LiveId" clId="{FDA48A03-3131-4F2F-A306-07301C63E802}" dt="2020-10-25T15:55:58.808" v="15016"/>
          <ac:spMkLst>
            <pc:docMk/>
            <pc:sldMk cId="1399880721" sldId="2714"/>
            <ac:spMk id="25" creationId="{7AD1D3B1-164C-4CBF-B906-7D4CDDE87F30}"/>
          </ac:spMkLst>
        </pc:spChg>
        <pc:spChg chg="del">
          <ac:chgData name="Леонид Попов" userId="cc02b5965c9bae3b" providerId="LiveId" clId="{FDA48A03-3131-4F2F-A306-07301C63E802}" dt="2020-10-25T15:55:58.035" v="15015" actId="478"/>
          <ac:spMkLst>
            <pc:docMk/>
            <pc:sldMk cId="1399880721" sldId="2714"/>
            <ac:spMk id="26" creationId="{82493BE1-C2F5-47C8-8012-16B8FD522086}"/>
          </ac:spMkLst>
        </pc:spChg>
        <pc:spChg chg="del">
          <ac:chgData name="Леонид Попов" userId="cc02b5965c9bae3b" providerId="LiveId" clId="{FDA48A03-3131-4F2F-A306-07301C63E802}" dt="2020-10-25T15:55:58.035" v="15015" actId="478"/>
          <ac:spMkLst>
            <pc:docMk/>
            <pc:sldMk cId="1399880721" sldId="2714"/>
            <ac:spMk id="27" creationId="{1074B261-4A50-4E48-B3AE-A092B1EF5966}"/>
          </ac:spMkLst>
        </pc:spChg>
        <pc:spChg chg="del">
          <ac:chgData name="Леонид Попов" userId="cc02b5965c9bae3b" providerId="LiveId" clId="{FDA48A03-3131-4F2F-A306-07301C63E802}" dt="2020-10-25T15:55:58.035" v="15015" actId="478"/>
          <ac:spMkLst>
            <pc:docMk/>
            <pc:sldMk cId="1399880721" sldId="2714"/>
            <ac:spMk id="28" creationId="{B26A8FFC-D4B2-4FC2-8E6F-0768B03B44AF}"/>
          </ac:spMkLst>
        </pc:spChg>
        <pc:spChg chg="del">
          <ac:chgData name="Леонид Попов" userId="cc02b5965c9bae3b" providerId="LiveId" clId="{FDA48A03-3131-4F2F-A306-07301C63E802}" dt="2020-10-25T15:55:58.035" v="15015" actId="478"/>
          <ac:spMkLst>
            <pc:docMk/>
            <pc:sldMk cId="1399880721" sldId="2714"/>
            <ac:spMk id="29" creationId="{BC3184C9-B014-43B0-9353-E270E6151123}"/>
          </ac:spMkLst>
        </pc:spChg>
        <pc:spChg chg="del">
          <ac:chgData name="Леонид Попов" userId="cc02b5965c9bae3b" providerId="LiveId" clId="{FDA48A03-3131-4F2F-A306-07301C63E802}" dt="2020-10-25T15:55:58.035" v="15015" actId="478"/>
          <ac:spMkLst>
            <pc:docMk/>
            <pc:sldMk cId="1399880721" sldId="2714"/>
            <ac:spMk id="30" creationId="{91ACB16C-D05F-432B-A47D-FEC25B6B3638}"/>
          </ac:spMkLst>
        </pc:spChg>
        <pc:spChg chg="del">
          <ac:chgData name="Леонид Попов" userId="cc02b5965c9bae3b" providerId="LiveId" clId="{FDA48A03-3131-4F2F-A306-07301C63E802}" dt="2020-10-25T15:55:58.035" v="15015" actId="478"/>
          <ac:spMkLst>
            <pc:docMk/>
            <pc:sldMk cId="1399880721" sldId="2714"/>
            <ac:spMk id="31" creationId="{86C638D2-12C0-4191-B04A-7DAA3FB68CEF}"/>
          </ac:spMkLst>
        </pc:spChg>
        <pc:spChg chg="del">
          <ac:chgData name="Леонид Попов" userId="cc02b5965c9bae3b" providerId="LiveId" clId="{FDA48A03-3131-4F2F-A306-07301C63E802}" dt="2020-10-25T15:55:58.035" v="15015" actId="478"/>
          <ac:spMkLst>
            <pc:docMk/>
            <pc:sldMk cId="1399880721" sldId="2714"/>
            <ac:spMk id="32" creationId="{912034F7-B750-400A-90AF-53FB0A6068FC}"/>
          </ac:spMkLst>
        </pc:spChg>
        <pc:spChg chg="mod">
          <ac:chgData name="Леонид Попов" userId="cc02b5965c9bae3b" providerId="LiveId" clId="{FDA48A03-3131-4F2F-A306-07301C63E802}" dt="2020-10-25T15:55:58.808" v="15016"/>
          <ac:spMkLst>
            <pc:docMk/>
            <pc:sldMk cId="1399880721" sldId="2714"/>
            <ac:spMk id="33" creationId="{B56307EC-FD9F-4028-8B3A-B3E8A0A7EE20}"/>
          </ac:spMkLst>
        </pc:spChg>
        <pc:spChg chg="mod">
          <ac:chgData name="Леонид Попов" userId="cc02b5965c9bae3b" providerId="LiveId" clId="{FDA48A03-3131-4F2F-A306-07301C63E802}" dt="2020-10-25T15:55:58.808" v="15016"/>
          <ac:spMkLst>
            <pc:docMk/>
            <pc:sldMk cId="1399880721" sldId="2714"/>
            <ac:spMk id="34" creationId="{6DB50D51-B198-4C27-92FB-091ACE0DC55F}"/>
          </ac:spMkLst>
        </pc:spChg>
        <pc:spChg chg="mod">
          <ac:chgData name="Леонид Попов" userId="cc02b5965c9bae3b" providerId="LiveId" clId="{FDA48A03-3131-4F2F-A306-07301C63E802}" dt="2020-10-25T15:55:58.808" v="15016"/>
          <ac:spMkLst>
            <pc:docMk/>
            <pc:sldMk cId="1399880721" sldId="2714"/>
            <ac:spMk id="35" creationId="{EA71266F-9487-4137-913D-DEC96668DCAC}"/>
          </ac:spMkLst>
        </pc:spChg>
        <pc:spChg chg="mod">
          <ac:chgData name="Леонид Попов" userId="cc02b5965c9bae3b" providerId="LiveId" clId="{FDA48A03-3131-4F2F-A306-07301C63E802}" dt="2020-10-25T15:55:58.808" v="15016"/>
          <ac:spMkLst>
            <pc:docMk/>
            <pc:sldMk cId="1399880721" sldId="2714"/>
            <ac:spMk id="36" creationId="{B2AB15F5-0CD8-4E8F-A0E4-609F9EC84DDD}"/>
          </ac:spMkLst>
        </pc:spChg>
        <pc:spChg chg="mod">
          <ac:chgData name="Леонид Попов" userId="cc02b5965c9bae3b" providerId="LiveId" clId="{FDA48A03-3131-4F2F-A306-07301C63E802}" dt="2020-10-25T15:55:58.808" v="15016"/>
          <ac:spMkLst>
            <pc:docMk/>
            <pc:sldMk cId="1399880721" sldId="2714"/>
            <ac:spMk id="37" creationId="{ECE13DAB-AADB-46FA-A2F7-3739BF3A3724}"/>
          </ac:spMkLst>
        </pc:spChg>
        <pc:spChg chg="mod">
          <ac:chgData name="Леонид Попов" userId="cc02b5965c9bae3b" providerId="LiveId" clId="{FDA48A03-3131-4F2F-A306-07301C63E802}" dt="2020-10-25T15:55:58.808" v="15016"/>
          <ac:spMkLst>
            <pc:docMk/>
            <pc:sldMk cId="1399880721" sldId="2714"/>
            <ac:spMk id="38" creationId="{30BE260C-5C5B-4208-90B4-5835A278379F}"/>
          </ac:spMkLst>
        </pc:spChg>
        <pc:spChg chg="add del mod">
          <ac:chgData name="Леонид Попов" userId="cc02b5965c9bae3b" providerId="LiveId" clId="{FDA48A03-3131-4F2F-A306-07301C63E802}" dt="2020-10-25T15:56:00.653" v="15017"/>
          <ac:spMkLst>
            <pc:docMk/>
            <pc:sldMk cId="1399880721" sldId="2714"/>
            <ac:spMk id="39" creationId="{E0D568B5-6F52-401F-B109-76C0C635D7EE}"/>
          </ac:spMkLst>
        </pc:spChg>
        <pc:spChg chg="add del mod">
          <ac:chgData name="Леонид Попов" userId="cc02b5965c9bae3b" providerId="LiveId" clId="{FDA48A03-3131-4F2F-A306-07301C63E802}" dt="2020-10-25T15:56:00.653" v="15017"/>
          <ac:spMkLst>
            <pc:docMk/>
            <pc:sldMk cId="1399880721" sldId="2714"/>
            <ac:spMk id="40" creationId="{EF27BF9B-EF57-41B4-9EC2-DCAB5866A857}"/>
          </ac:spMkLst>
        </pc:spChg>
        <pc:spChg chg="add del mod">
          <ac:chgData name="Леонид Попов" userId="cc02b5965c9bae3b" providerId="LiveId" clId="{FDA48A03-3131-4F2F-A306-07301C63E802}" dt="2020-10-25T15:56:00.653" v="15017"/>
          <ac:spMkLst>
            <pc:docMk/>
            <pc:sldMk cId="1399880721" sldId="2714"/>
            <ac:spMk id="41" creationId="{E57529F1-AA5F-438D-A398-223A1C503F22}"/>
          </ac:spMkLst>
        </pc:spChg>
        <pc:spChg chg="add del mod">
          <ac:chgData name="Леонид Попов" userId="cc02b5965c9bae3b" providerId="LiveId" clId="{FDA48A03-3131-4F2F-A306-07301C63E802}" dt="2020-10-25T15:56:00.653" v="15017"/>
          <ac:spMkLst>
            <pc:docMk/>
            <pc:sldMk cId="1399880721" sldId="2714"/>
            <ac:spMk id="45" creationId="{191D8650-2065-4855-A07F-4661D12654F1}"/>
          </ac:spMkLst>
        </pc:spChg>
        <pc:spChg chg="del mod topLvl">
          <ac:chgData name="Леонид Попов" userId="cc02b5965c9bae3b" providerId="LiveId" clId="{FDA48A03-3131-4F2F-A306-07301C63E802}" dt="2020-10-25T15:56:19.639" v="15021" actId="478"/>
          <ac:spMkLst>
            <pc:docMk/>
            <pc:sldMk cId="1399880721" sldId="2714"/>
            <ac:spMk id="48" creationId="{2C67704D-05A2-4266-B16B-35CF75E50149}"/>
          </ac:spMkLst>
        </pc:spChg>
        <pc:spChg chg="del mod topLvl">
          <ac:chgData name="Леонид Попов" userId="cc02b5965c9bae3b" providerId="LiveId" clId="{FDA48A03-3131-4F2F-A306-07301C63E802}" dt="2020-10-25T15:56:25.511" v="15022" actId="478"/>
          <ac:spMkLst>
            <pc:docMk/>
            <pc:sldMk cId="1399880721" sldId="2714"/>
            <ac:spMk id="49" creationId="{24BFC110-8B4D-4B87-959F-02C6CE19932B}"/>
          </ac:spMkLst>
        </pc:spChg>
        <pc:spChg chg="mod topLvl">
          <ac:chgData name="Леонид Попов" userId="cc02b5965c9bae3b" providerId="LiveId" clId="{FDA48A03-3131-4F2F-A306-07301C63E802}" dt="2020-10-25T15:58:37.072" v="15044" actId="164"/>
          <ac:spMkLst>
            <pc:docMk/>
            <pc:sldMk cId="1399880721" sldId="2714"/>
            <ac:spMk id="50" creationId="{DE1721D3-7C1A-4EE6-A075-3A43ECED420D}"/>
          </ac:spMkLst>
        </pc:spChg>
        <pc:spChg chg="mod topLvl">
          <ac:chgData name="Леонид Попов" userId="cc02b5965c9bae3b" providerId="LiveId" clId="{FDA48A03-3131-4F2F-A306-07301C63E802}" dt="2020-10-25T15:58:37.072" v="15044" actId="164"/>
          <ac:spMkLst>
            <pc:docMk/>
            <pc:sldMk cId="1399880721" sldId="2714"/>
            <ac:spMk id="51" creationId="{C49E547C-B062-4C0A-887B-A39FD2CB90D9}"/>
          </ac:spMkLst>
        </pc:spChg>
        <pc:spChg chg="mod">
          <ac:chgData name="Леонид Попов" userId="cc02b5965c9bae3b" providerId="LiveId" clId="{FDA48A03-3131-4F2F-A306-07301C63E802}" dt="2020-10-25T15:56:17.073" v="15020" actId="165"/>
          <ac:spMkLst>
            <pc:docMk/>
            <pc:sldMk cId="1399880721" sldId="2714"/>
            <ac:spMk id="52" creationId="{FD463738-489B-40EF-A676-D8D4E1B72D59}"/>
          </ac:spMkLst>
        </pc:spChg>
        <pc:spChg chg="mod">
          <ac:chgData name="Леонид Попов" userId="cc02b5965c9bae3b" providerId="LiveId" clId="{FDA48A03-3131-4F2F-A306-07301C63E802}" dt="2020-10-25T15:56:17.073" v="15020" actId="165"/>
          <ac:spMkLst>
            <pc:docMk/>
            <pc:sldMk cId="1399880721" sldId="2714"/>
            <ac:spMk id="53" creationId="{29A8CBF4-0C64-463C-9598-8515AF3EC3DF}"/>
          </ac:spMkLst>
        </pc:spChg>
        <pc:spChg chg="mod">
          <ac:chgData name="Леонид Попов" userId="cc02b5965c9bae3b" providerId="LiveId" clId="{FDA48A03-3131-4F2F-A306-07301C63E802}" dt="2020-10-25T15:56:17.073" v="15020" actId="165"/>
          <ac:spMkLst>
            <pc:docMk/>
            <pc:sldMk cId="1399880721" sldId="2714"/>
            <ac:spMk id="54" creationId="{C6100307-3966-410C-A9A7-D08D3603CBF2}"/>
          </ac:spMkLst>
        </pc:spChg>
        <pc:spChg chg="add mod">
          <ac:chgData name="Леонид Попов" userId="cc02b5965c9bae3b" providerId="LiveId" clId="{FDA48A03-3131-4F2F-A306-07301C63E802}" dt="2020-10-25T15:57:01.830" v="15029" actId="1076"/>
          <ac:spMkLst>
            <pc:docMk/>
            <pc:sldMk cId="1399880721" sldId="2714"/>
            <ac:spMk id="55" creationId="{56A7FE12-777F-4372-B3CA-38B2D930D41B}"/>
          </ac:spMkLst>
        </pc:spChg>
        <pc:spChg chg="add mod">
          <ac:chgData name="Леонид Попов" userId="cc02b5965c9bae3b" providerId="LiveId" clId="{FDA48A03-3131-4F2F-A306-07301C63E802}" dt="2020-10-25T15:57:01.830" v="15029" actId="1076"/>
          <ac:spMkLst>
            <pc:docMk/>
            <pc:sldMk cId="1399880721" sldId="2714"/>
            <ac:spMk id="56" creationId="{9154A79B-F7B2-4A10-9D09-0A7C608FCD4F}"/>
          </ac:spMkLst>
        </pc:spChg>
        <pc:spChg chg="add mod">
          <ac:chgData name="Леонид Попов" userId="cc02b5965c9bae3b" providerId="LiveId" clId="{FDA48A03-3131-4F2F-A306-07301C63E802}" dt="2020-10-25T15:57:01.830" v="15029" actId="1076"/>
          <ac:spMkLst>
            <pc:docMk/>
            <pc:sldMk cId="1399880721" sldId="2714"/>
            <ac:spMk id="57" creationId="{EB68A1CE-4EB2-4AFD-B85D-73A14C8D1191}"/>
          </ac:spMkLst>
        </pc:spChg>
        <pc:spChg chg="add del mod">
          <ac:chgData name="Леонид Попов" userId="cc02b5965c9bae3b" providerId="LiveId" clId="{FDA48A03-3131-4F2F-A306-07301C63E802}" dt="2020-10-25T15:56:30.186" v="15023" actId="478"/>
          <ac:spMkLst>
            <pc:docMk/>
            <pc:sldMk cId="1399880721" sldId="2714"/>
            <ac:spMk id="61" creationId="{781DC684-135B-4B2A-B4D0-D852A5179E13}"/>
          </ac:spMkLst>
        </pc:spChg>
        <pc:spChg chg="add del mod">
          <ac:chgData name="Леонид Попов" userId="cc02b5965c9bae3b" providerId="LiveId" clId="{FDA48A03-3131-4F2F-A306-07301C63E802}" dt="2020-10-25T16:01:40.444" v="15123" actId="478"/>
          <ac:spMkLst>
            <pc:docMk/>
            <pc:sldMk cId="1399880721" sldId="2714"/>
            <ac:spMk id="63" creationId="{2D2D3198-BEAB-4684-B8CC-8457F8853739}"/>
          </ac:spMkLst>
        </pc:spChg>
        <pc:spChg chg="mod">
          <ac:chgData name="Леонид Попов" userId="cc02b5965c9bae3b" providerId="LiveId" clId="{FDA48A03-3131-4F2F-A306-07301C63E802}" dt="2020-10-25T16:02:50.430" v="15208"/>
          <ac:spMkLst>
            <pc:docMk/>
            <pc:sldMk cId="1399880721" sldId="2714"/>
            <ac:spMk id="65" creationId="{81C98A65-08A2-4B8C-BC0D-90D6461A7851}"/>
          </ac:spMkLst>
        </pc:spChg>
        <pc:spChg chg="mod">
          <ac:chgData name="Леонид Попов" userId="cc02b5965c9bae3b" providerId="LiveId" clId="{FDA48A03-3131-4F2F-A306-07301C63E802}" dt="2020-10-25T16:02:50.430" v="15208"/>
          <ac:spMkLst>
            <pc:docMk/>
            <pc:sldMk cId="1399880721" sldId="2714"/>
            <ac:spMk id="66" creationId="{43279150-5A19-48F7-8E47-6307149D4C3D}"/>
          </ac:spMkLst>
        </pc:spChg>
        <pc:spChg chg="mod">
          <ac:chgData name="Леонид Попов" userId="cc02b5965c9bae3b" providerId="LiveId" clId="{FDA48A03-3131-4F2F-A306-07301C63E802}" dt="2020-10-25T16:02:50.430" v="15208"/>
          <ac:spMkLst>
            <pc:docMk/>
            <pc:sldMk cId="1399880721" sldId="2714"/>
            <ac:spMk id="67" creationId="{370CFC2B-C32E-4C1D-97F5-76491E879B83}"/>
          </ac:spMkLst>
        </pc:spChg>
        <pc:grpChg chg="del">
          <ac:chgData name="Леонид Попов" userId="cc02b5965c9bae3b" providerId="LiveId" clId="{FDA48A03-3131-4F2F-A306-07301C63E802}" dt="2020-10-25T15:55:58.035" v="15015" actId="478"/>
          <ac:grpSpMkLst>
            <pc:docMk/>
            <pc:sldMk cId="1399880721" sldId="2714"/>
            <ac:grpSpMk id="2" creationId="{341B1789-3F25-4C95-B142-9FEFC5A48251}"/>
          </ac:grpSpMkLst>
        </pc:grpChg>
        <pc:grpChg chg="del">
          <ac:chgData name="Леонид Попов" userId="cc02b5965c9bae3b" providerId="LiveId" clId="{FDA48A03-3131-4F2F-A306-07301C63E802}" dt="2020-10-25T15:55:58.035" v="15015" actId="478"/>
          <ac:grpSpMkLst>
            <pc:docMk/>
            <pc:sldMk cId="1399880721" sldId="2714"/>
            <ac:grpSpMk id="13" creationId="{F2423BF2-E19F-4122-AB58-F2C248D70B0D}"/>
          </ac:grpSpMkLst>
        </pc:grpChg>
        <pc:grpChg chg="add mod">
          <ac:chgData name="Леонид Попов" userId="cc02b5965c9bae3b" providerId="LiveId" clId="{FDA48A03-3131-4F2F-A306-07301C63E802}" dt="2020-10-25T15:58:37.072" v="15044" actId="164"/>
          <ac:grpSpMkLst>
            <pc:docMk/>
            <pc:sldMk cId="1399880721" sldId="2714"/>
            <ac:grpSpMk id="17" creationId="{9EF2F710-595D-4B65-AD87-10D2A3AD881F}"/>
          </ac:grpSpMkLst>
        </pc:grpChg>
        <pc:grpChg chg="add del mod">
          <ac:chgData name="Леонид Попов" userId="cc02b5965c9bae3b" providerId="LiveId" clId="{FDA48A03-3131-4F2F-A306-07301C63E802}" dt="2020-10-25T15:56:00.653" v="15017"/>
          <ac:grpSpMkLst>
            <pc:docMk/>
            <pc:sldMk cId="1399880721" sldId="2714"/>
            <ac:grpSpMk id="23" creationId="{5049BAD4-0489-40F5-938E-548E45613CB5}"/>
          </ac:grpSpMkLst>
        </pc:grpChg>
        <pc:grpChg chg="mod">
          <ac:chgData name="Леонид Попов" userId="cc02b5965c9bae3b" providerId="LiveId" clId="{FDA48A03-3131-4F2F-A306-07301C63E802}" dt="2020-10-25T15:55:58.808" v="15016"/>
          <ac:grpSpMkLst>
            <pc:docMk/>
            <pc:sldMk cId="1399880721" sldId="2714"/>
            <ac:grpSpMk id="24" creationId="{F4BF69C3-BA43-4B69-82A3-B23FD83B7DAA}"/>
          </ac:grpSpMkLst>
        </pc:grpChg>
        <pc:grpChg chg="add del mod">
          <ac:chgData name="Леонид Попов" userId="cc02b5965c9bae3b" providerId="LiveId" clId="{FDA48A03-3131-4F2F-A306-07301C63E802}" dt="2020-10-25T15:56:17.073" v="15020" actId="165"/>
          <ac:grpSpMkLst>
            <pc:docMk/>
            <pc:sldMk cId="1399880721" sldId="2714"/>
            <ac:grpSpMk id="46" creationId="{40A41937-AA5A-4C98-88C1-9F3DDCD5354B}"/>
          </ac:grpSpMkLst>
        </pc:grpChg>
        <pc:grpChg chg="del mod topLvl">
          <ac:chgData name="Леонид Попов" userId="cc02b5965c9bae3b" providerId="LiveId" clId="{FDA48A03-3131-4F2F-A306-07301C63E802}" dt="2020-10-25T15:56:19.639" v="15021" actId="478"/>
          <ac:grpSpMkLst>
            <pc:docMk/>
            <pc:sldMk cId="1399880721" sldId="2714"/>
            <ac:grpSpMk id="47" creationId="{5B234E33-F222-4964-B390-3C37D5B415C8}"/>
          </ac:grpSpMkLst>
        </pc:grpChg>
        <pc:grpChg chg="add mod">
          <ac:chgData name="Леонид Попов" userId="cc02b5965c9bae3b" providerId="LiveId" clId="{FDA48A03-3131-4F2F-A306-07301C63E802}" dt="2020-10-25T16:02:50.430" v="15208"/>
          <ac:grpSpMkLst>
            <pc:docMk/>
            <pc:sldMk cId="1399880721" sldId="2714"/>
            <ac:grpSpMk id="64" creationId="{BA1A7FED-1B32-438D-AB56-0FA93E52ECDB}"/>
          </ac:grpSpMkLst>
        </pc:grpChg>
        <pc:graphicFrameChg chg="del">
          <ac:chgData name="Леонид Попов" userId="cc02b5965c9bae3b" providerId="LiveId" clId="{FDA48A03-3131-4F2F-A306-07301C63E802}" dt="2020-10-25T15:55:58.035" v="15015" actId="478"/>
          <ac:graphicFrameMkLst>
            <pc:docMk/>
            <pc:sldMk cId="1399880721" sldId="2714"/>
            <ac:graphicFrameMk id="16" creationId="{6912F192-9A87-4110-933D-53B0B6044358}"/>
          </ac:graphicFrameMkLst>
        </pc:graphicFrameChg>
        <pc:cxnChg chg="add del mod">
          <ac:chgData name="Леонид Попов" userId="cc02b5965c9bae3b" providerId="LiveId" clId="{FDA48A03-3131-4F2F-A306-07301C63E802}" dt="2020-10-25T15:56:00.653" v="15017"/>
          <ac:cxnSpMkLst>
            <pc:docMk/>
            <pc:sldMk cId="1399880721" sldId="2714"/>
            <ac:cxnSpMk id="42" creationId="{5AA83510-870E-4EFF-9C86-76ACB3C8D50C}"/>
          </ac:cxnSpMkLst>
        </pc:cxnChg>
        <pc:cxnChg chg="add del mod">
          <ac:chgData name="Леонид Попов" userId="cc02b5965c9bae3b" providerId="LiveId" clId="{FDA48A03-3131-4F2F-A306-07301C63E802}" dt="2020-10-25T15:56:00.653" v="15017"/>
          <ac:cxnSpMkLst>
            <pc:docMk/>
            <pc:sldMk cId="1399880721" sldId="2714"/>
            <ac:cxnSpMk id="43" creationId="{3CC70F76-2E4E-4AD1-A927-3038286A5E7C}"/>
          </ac:cxnSpMkLst>
        </pc:cxnChg>
        <pc:cxnChg chg="add del mod">
          <ac:chgData name="Леонид Попов" userId="cc02b5965c9bae3b" providerId="LiveId" clId="{FDA48A03-3131-4F2F-A306-07301C63E802}" dt="2020-10-25T15:56:00.653" v="15017"/>
          <ac:cxnSpMkLst>
            <pc:docMk/>
            <pc:sldMk cId="1399880721" sldId="2714"/>
            <ac:cxnSpMk id="44" creationId="{598111B7-C513-44D6-ACCD-036AC822A6A9}"/>
          </ac:cxnSpMkLst>
        </pc:cxnChg>
        <pc:cxnChg chg="add del mod">
          <ac:chgData name="Леонид Попов" userId="cc02b5965c9bae3b" providerId="LiveId" clId="{FDA48A03-3131-4F2F-A306-07301C63E802}" dt="2020-10-25T15:56:50.750" v="15026" actId="478"/>
          <ac:cxnSpMkLst>
            <pc:docMk/>
            <pc:sldMk cId="1399880721" sldId="2714"/>
            <ac:cxnSpMk id="58" creationId="{60AB3BAC-DEE8-4EC5-867E-2BAD1628CF06}"/>
          </ac:cxnSpMkLst>
        </pc:cxnChg>
        <pc:cxnChg chg="add del mod">
          <ac:chgData name="Леонид Попов" userId="cc02b5965c9bae3b" providerId="LiveId" clId="{FDA48A03-3131-4F2F-A306-07301C63E802}" dt="2020-10-25T15:56:51.873" v="15027" actId="478"/>
          <ac:cxnSpMkLst>
            <pc:docMk/>
            <pc:sldMk cId="1399880721" sldId="2714"/>
            <ac:cxnSpMk id="59" creationId="{07D94A37-E80D-4545-A8E0-7341442FF48E}"/>
          </ac:cxnSpMkLst>
        </pc:cxnChg>
        <pc:cxnChg chg="add del mod">
          <ac:chgData name="Леонид Попов" userId="cc02b5965c9bae3b" providerId="LiveId" clId="{FDA48A03-3131-4F2F-A306-07301C63E802}" dt="2020-10-25T15:56:52.750" v="15028" actId="478"/>
          <ac:cxnSpMkLst>
            <pc:docMk/>
            <pc:sldMk cId="1399880721" sldId="2714"/>
            <ac:cxnSpMk id="60" creationId="{3E41AED0-6F29-4EF8-BC44-8957200031B1}"/>
          </ac:cxnSpMkLst>
        </pc:cxnChg>
      </pc:sldChg>
      <pc:sldChg chg="addSp delSp modSp add mod modNotesTx">
        <pc:chgData name="Леонид Попов" userId="cc02b5965c9bae3b" providerId="LiveId" clId="{FDA48A03-3131-4F2F-A306-07301C63E802}" dt="2020-10-25T18:10:27.174" v="21882" actId="20577"/>
        <pc:sldMkLst>
          <pc:docMk/>
          <pc:sldMk cId="1800269486" sldId="2715"/>
        </pc:sldMkLst>
        <pc:spChg chg="mod">
          <ac:chgData name="Леонид Попов" userId="cc02b5965c9bae3b" providerId="LiveId" clId="{FDA48A03-3131-4F2F-A306-07301C63E802}" dt="2020-10-25T16:01:56.065" v="15160" actId="20577"/>
          <ac:spMkLst>
            <pc:docMk/>
            <pc:sldMk cId="1800269486" sldId="2715"/>
            <ac:spMk id="3" creationId="{ECCBC75B-19ED-445F-BDC5-F376143368F5}"/>
          </ac:spMkLst>
        </pc:spChg>
        <pc:spChg chg="del">
          <ac:chgData name="Леонид Попов" userId="cc02b5965c9bae3b" providerId="LiveId" clId="{FDA48A03-3131-4F2F-A306-07301C63E802}" dt="2020-10-25T15:59:29.984" v="15047" actId="478"/>
          <ac:spMkLst>
            <pc:docMk/>
            <pc:sldMk cId="1800269486" sldId="2715"/>
            <ac:spMk id="55" creationId="{56A7FE12-777F-4372-B3CA-38B2D930D41B}"/>
          </ac:spMkLst>
        </pc:spChg>
        <pc:spChg chg="del">
          <ac:chgData name="Леонид Попов" userId="cc02b5965c9bae3b" providerId="LiveId" clId="{FDA48A03-3131-4F2F-A306-07301C63E802}" dt="2020-10-25T15:59:29.984" v="15047" actId="478"/>
          <ac:spMkLst>
            <pc:docMk/>
            <pc:sldMk cId="1800269486" sldId="2715"/>
            <ac:spMk id="56" creationId="{9154A79B-F7B2-4A10-9D09-0A7C608FCD4F}"/>
          </ac:spMkLst>
        </pc:spChg>
        <pc:spChg chg="del">
          <ac:chgData name="Леонид Попов" userId="cc02b5965c9bae3b" providerId="LiveId" clId="{FDA48A03-3131-4F2F-A306-07301C63E802}" dt="2020-10-25T15:59:29.984" v="15047" actId="478"/>
          <ac:spMkLst>
            <pc:docMk/>
            <pc:sldMk cId="1800269486" sldId="2715"/>
            <ac:spMk id="57" creationId="{EB68A1CE-4EB2-4AFD-B85D-73A14C8D1191}"/>
          </ac:spMkLst>
        </pc:spChg>
        <pc:spChg chg="del">
          <ac:chgData name="Леонид Попов" userId="cc02b5965c9bae3b" providerId="LiveId" clId="{FDA48A03-3131-4F2F-A306-07301C63E802}" dt="2020-10-25T15:59:29.984" v="15047" actId="478"/>
          <ac:spMkLst>
            <pc:docMk/>
            <pc:sldMk cId="1800269486" sldId="2715"/>
            <ac:spMk id="63" creationId="{2D2D3198-BEAB-4684-B8CC-8457F8853739}"/>
          </ac:spMkLst>
        </pc:spChg>
        <pc:grpChg chg="del">
          <ac:chgData name="Леонид Попов" userId="cc02b5965c9bae3b" providerId="LiveId" clId="{FDA48A03-3131-4F2F-A306-07301C63E802}" dt="2020-10-25T15:59:29.984" v="15047" actId="478"/>
          <ac:grpSpMkLst>
            <pc:docMk/>
            <pc:sldMk cId="1800269486" sldId="2715"/>
            <ac:grpSpMk id="17" creationId="{9EF2F710-595D-4B65-AD87-10D2A3AD881F}"/>
          </ac:grpSpMkLst>
        </pc:grpChg>
        <pc:picChg chg="add mod">
          <ac:chgData name="Леонид Попов" userId="cc02b5965c9bae3b" providerId="LiveId" clId="{FDA48A03-3131-4F2F-A306-07301C63E802}" dt="2020-10-25T15:59:57.781" v="15073" actId="1036"/>
          <ac:picMkLst>
            <pc:docMk/>
            <pc:sldMk cId="1800269486" sldId="2715"/>
            <ac:picMk id="10" creationId="{1EA0C557-72FF-4BE5-A38D-8EDB41B24601}"/>
          </ac:picMkLst>
        </pc:picChg>
        <pc:picChg chg="add mod">
          <ac:chgData name="Леонид Попов" userId="cc02b5965c9bae3b" providerId="LiveId" clId="{FDA48A03-3131-4F2F-A306-07301C63E802}" dt="2020-10-25T15:59:57.781" v="15073" actId="1036"/>
          <ac:picMkLst>
            <pc:docMk/>
            <pc:sldMk cId="1800269486" sldId="2715"/>
            <ac:picMk id="11" creationId="{A242E19D-F66B-4A29-9CAF-2D1FB21A89F2}"/>
          </ac:picMkLst>
        </pc:picChg>
        <pc:picChg chg="add mod">
          <ac:chgData name="Леонид Попов" userId="cc02b5965c9bae3b" providerId="LiveId" clId="{FDA48A03-3131-4F2F-A306-07301C63E802}" dt="2020-10-25T15:59:57.781" v="15073" actId="1036"/>
          <ac:picMkLst>
            <pc:docMk/>
            <pc:sldMk cId="1800269486" sldId="2715"/>
            <ac:picMk id="12" creationId="{73B963C8-EFC0-467A-85E9-FD331BAD2726}"/>
          </ac:picMkLst>
        </pc:picChg>
        <pc:cxnChg chg="add mod">
          <ac:chgData name="Леонид Попов" userId="cc02b5965c9bae3b" providerId="LiveId" clId="{FDA48A03-3131-4F2F-A306-07301C63E802}" dt="2020-10-25T15:59:57.781" v="15073" actId="1036"/>
          <ac:cxnSpMkLst>
            <pc:docMk/>
            <pc:sldMk cId="1800269486" sldId="2715"/>
            <ac:cxnSpMk id="13" creationId="{E6C3F399-2DF2-4D41-AF2B-CF6C0A000F27}"/>
          </ac:cxnSpMkLst>
        </pc:cxnChg>
      </pc:sldChg>
      <pc:sldChg chg="addSp delSp modSp add mod ord modNotesTx">
        <pc:chgData name="Леонид Попов" userId="cc02b5965c9bae3b" providerId="LiveId" clId="{FDA48A03-3131-4F2F-A306-07301C63E802}" dt="2020-10-25T18:53:20.970" v="22299" actId="20577"/>
        <pc:sldMkLst>
          <pc:docMk/>
          <pc:sldMk cId="4112451551" sldId="2716"/>
        </pc:sldMkLst>
        <pc:spChg chg="mod">
          <ac:chgData name="Леонид Попов" userId="cc02b5965c9bae3b" providerId="LiveId" clId="{FDA48A03-3131-4F2F-A306-07301C63E802}" dt="2020-10-25T18:06:02.213" v="21832" actId="20577"/>
          <ac:spMkLst>
            <pc:docMk/>
            <pc:sldMk cId="4112451551" sldId="2716"/>
            <ac:spMk id="5" creationId="{68F6C310-34D7-4AB2-8D7D-EB0E5DD87498}"/>
          </ac:spMkLst>
        </pc:spChg>
        <pc:spChg chg="del">
          <ac:chgData name="Леонид Попов" userId="cc02b5965c9bae3b" providerId="LiveId" clId="{FDA48A03-3131-4F2F-A306-07301C63E802}" dt="2020-10-25T17:39:55.363" v="21528" actId="478"/>
          <ac:spMkLst>
            <pc:docMk/>
            <pc:sldMk cId="4112451551" sldId="2716"/>
            <ac:spMk id="6" creationId="{E729B6D4-2AFB-4906-86E3-F7883CC79D58}"/>
          </ac:spMkLst>
        </pc:spChg>
        <pc:spChg chg="del">
          <ac:chgData name="Леонид Попов" userId="cc02b5965c9bae3b" providerId="LiveId" clId="{FDA48A03-3131-4F2F-A306-07301C63E802}" dt="2020-10-25T17:39:55.363" v="21528" actId="478"/>
          <ac:spMkLst>
            <pc:docMk/>
            <pc:sldMk cId="4112451551" sldId="2716"/>
            <ac:spMk id="9" creationId="{7848E7B9-C6B7-462B-8E3A-7D913A8575DF}"/>
          </ac:spMkLst>
        </pc:spChg>
        <pc:spChg chg="del">
          <ac:chgData name="Леонид Попов" userId="cc02b5965c9bae3b" providerId="LiveId" clId="{FDA48A03-3131-4F2F-A306-07301C63E802}" dt="2020-10-25T17:39:55.363" v="21528" actId="478"/>
          <ac:spMkLst>
            <pc:docMk/>
            <pc:sldMk cId="4112451551" sldId="2716"/>
            <ac:spMk id="11" creationId="{79F369D3-2102-4562-8646-A8C527452023}"/>
          </ac:spMkLst>
        </pc:spChg>
        <pc:spChg chg="del">
          <ac:chgData name="Леонид Попов" userId="cc02b5965c9bae3b" providerId="LiveId" clId="{FDA48A03-3131-4F2F-A306-07301C63E802}" dt="2020-10-25T17:39:55.363" v="21528" actId="478"/>
          <ac:spMkLst>
            <pc:docMk/>
            <pc:sldMk cId="4112451551" sldId="2716"/>
            <ac:spMk id="13" creationId="{5811B531-8260-4A38-818E-58F245053B34}"/>
          </ac:spMkLst>
        </pc:spChg>
        <pc:spChg chg="del">
          <ac:chgData name="Леонид Попов" userId="cc02b5965c9bae3b" providerId="LiveId" clId="{FDA48A03-3131-4F2F-A306-07301C63E802}" dt="2020-10-25T17:39:55.363" v="21528" actId="478"/>
          <ac:spMkLst>
            <pc:docMk/>
            <pc:sldMk cId="4112451551" sldId="2716"/>
            <ac:spMk id="14" creationId="{5BCE1A79-1955-4D53-8443-B86E9F7ABAE7}"/>
          </ac:spMkLst>
        </pc:spChg>
        <pc:spChg chg="del">
          <ac:chgData name="Леонид Попов" userId="cc02b5965c9bae3b" providerId="LiveId" clId="{FDA48A03-3131-4F2F-A306-07301C63E802}" dt="2020-10-25T17:39:55.363" v="21528" actId="478"/>
          <ac:spMkLst>
            <pc:docMk/>
            <pc:sldMk cId="4112451551" sldId="2716"/>
            <ac:spMk id="15" creationId="{76594CFE-C33C-431D-BFCC-08DE8E263AF8}"/>
          </ac:spMkLst>
        </pc:spChg>
        <pc:spChg chg="mod">
          <ac:chgData name="Леонид Попов" userId="cc02b5965c9bae3b" providerId="LiveId" clId="{FDA48A03-3131-4F2F-A306-07301C63E802}" dt="2020-10-25T17:39:56.034" v="21529"/>
          <ac:spMkLst>
            <pc:docMk/>
            <pc:sldMk cId="4112451551" sldId="2716"/>
            <ac:spMk id="18" creationId="{E402E4CA-8A6A-4490-822A-4603F72B9B18}"/>
          </ac:spMkLst>
        </pc:spChg>
        <pc:spChg chg="mod">
          <ac:chgData name="Леонид Попов" userId="cc02b5965c9bae3b" providerId="LiveId" clId="{FDA48A03-3131-4F2F-A306-07301C63E802}" dt="2020-10-25T17:39:56.034" v="21529"/>
          <ac:spMkLst>
            <pc:docMk/>
            <pc:sldMk cId="4112451551" sldId="2716"/>
            <ac:spMk id="19" creationId="{E5E3FB86-2B92-44C5-84EF-0A54E7E2CAD7}"/>
          </ac:spMkLst>
        </pc:spChg>
        <pc:spChg chg="mod">
          <ac:chgData name="Леонид Попов" userId="cc02b5965c9bae3b" providerId="LiveId" clId="{FDA48A03-3131-4F2F-A306-07301C63E802}" dt="2020-10-25T17:39:56.034" v="21529"/>
          <ac:spMkLst>
            <pc:docMk/>
            <pc:sldMk cId="4112451551" sldId="2716"/>
            <ac:spMk id="21" creationId="{97AE4147-7BF3-46EC-A2DB-1E9EBF177951}"/>
          </ac:spMkLst>
        </pc:spChg>
        <pc:spChg chg="mod">
          <ac:chgData name="Леонид Попов" userId="cc02b5965c9bae3b" providerId="LiveId" clId="{FDA48A03-3131-4F2F-A306-07301C63E802}" dt="2020-10-25T17:39:56.034" v="21529"/>
          <ac:spMkLst>
            <pc:docMk/>
            <pc:sldMk cId="4112451551" sldId="2716"/>
            <ac:spMk id="22" creationId="{7E39E060-1371-4955-B02E-7C720DB4F241}"/>
          </ac:spMkLst>
        </pc:spChg>
        <pc:spChg chg="del mod topLvl">
          <ac:chgData name="Леонид Попов" userId="cc02b5965c9bae3b" providerId="LiveId" clId="{FDA48A03-3131-4F2F-A306-07301C63E802}" dt="2020-10-25T17:49:56.159" v="21670" actId="478"/>
          <ac:spMkLst>
            <pc:docMk/>
            <pc:sldMk cId="4112451551" sldId="2716"/>
            <ac:spMk id="25" creationId="{BA68F566-C815-45D9-9EFA-E30F5174EB73}"/>
          </ac:spMkLst>
        </pc:spChg>
        <pc:spChg chg="del mod topLvl">
          <ac:chgData name="Леонид Попов" userId="cc02b5965c9bae3b" providerId="LiveId" clId="{FDA48A03-3131-4F2F-A306-07301C63E802}" dt="2020-10-25T17:42:11.322" v="21593" actId="478"/>
          <ac:spMkLst>
            <pc:docMk/>
            <pc:sldMk cId="4112451551" sldId="2716"/>
            <ac:spMk id="26" creationId="{A2DFEE59-7D37-4790-8333-1C37CDAC0DE3}"/>
          </ac:spMkLst>
        </pc:spChg>
        <pc:spChg chg="mod">
          <ac:chgData name="Леонид Попов" userId="cc02b5965c9bae3b" providerId="LiveId" clId="{FDA48A03-3131-4F2F-A306-07301C63E802}" dt="2020-10-25T17:49:32.441" v="21668" actId="14100"/>
          <ac:spMkLst>
            <pc:docMk/>
            <pc:sldMk cId="4112451551" sldId="2716"/>
            <ac:spMk id="28" creationId="{47951E5C-4417-4254-94FC-B60C76C73661}"/>
          </ac:spMkLst>
        </pc:spChg>
        <pc:spChg chg="mod">
          <ac:chgData name="Леонид Попов" userId="cc02b5965c9bae3b" providerId="LiveId" clId="{FDA48A03-3131-4F2F-A306-07301C63E802}" dt="2020-10-25T17:42:00.515" v="21590" actId="20577"/>
          <ac:spMkLst>
            <pc:docMk/>
            <pc:sldMk cId="4112451551" sldId="2716"/>
            <ac:spMk id="29" creationId="{732EC201-985E-443C-B12C-DEFD622709F2}"/>
          </ac:spMkLst>
        </pc:spChg>
        <pc:grpChg chg="add del mod">
          <ac:chgData name="Леонид Попов" userId="cc02b5965c9bae3b" providerId="LiveId" clId="{FDA48A03-3131-4F2F-A306-07301C63E802}" dt="2020-10-25T17:40:02.424" v="21553"/>
          <ac:grpSpMkLst>
            <pc:docMk/>
            <pc:sldMk cId="4112451551" sldId="2716"/>
            <ac:grpSpMk id="17" creationId="{57E895BE-07F5-4ACC-97C6-B8F5437F0BB6}"/>
          </ac:grpSpMkLst>
        </pc:grpChg>
        <pc:grpChg chg="add del mod">
          <ac:chgData name="Леонид Попов" userId="cc02b5965c9bae3b" providerId="LiveId" clId="{FDA48A03-3131-4F2F-A306-07301C63E802}" dt="2020-10-25T17:40:02.424" v="21553"/>
          <ac:grpSpMkLst>
            <pc:docMk/>
            <pc:sldMk cId="4112451551" sldId="2716"/>
            <ac:grpSpMk id="20" creationId="{54DFC080-19C5-47C7-9AED-D2E897FDCB18}"/>
          </ac:grpSpMkLst>
        </pc:grpChg>
        <pc:grpChg chg="add del mod">
          <ac:chgData name="Леонид Попов" userId="cc02b5965c9bae3b" providerId="LiveId" clId="{FDA48A03-3131-4F2F-A306-07301C63E802}" dt="2020-10-25T17:40:58.773" v="21582" actId="165"/>
          <ac:grpSpMkLst>
            <pc:docMk/>
            <pc:sldMk cId="4112451551" sldId="2716"/>
            <ac:grpSpMk id="24" creationId="{A69721D0-A89A-43E4-9C20-300073D1D8F0}"/>
          </ac:grpSpMkLst>
        </pc:grpChg>
        <pc:grpChg chg="add mod">
          <ac:chgData name="Леонид Попов" userId="cc02b5965c9bae3b" providerId="LiveId" clId="{FDA48A03-3131-4F2F-A306-07301C63E802}" dt="2020-10-25T17:49:36.170" v="21669" actId="1076"/>
          <ac:grpSpMkLst>
            <pc:docMk/>
            <pc:sldMk cId="4112451551" sldId="2716"/>
            <ac:grpSpMk id="27" creationId="{4751EE0A-0EF7-4052-91BF-62B45F0823B8}"/>
          </ac:grpSpMkLst>
        </pc:grpChg>
        <pc:picChg chg="del">
          <ac:chgData name="Леонид Попов" userId="cc02b5965c9bae3b" providerId="LiveId" clId="{FDA48A03-3131-4F2F-A306-07301C63E802}" dt="2020-10-25T17:39:55.363" v="21528" actId="478"/>
          <ac:picMkLst>
            <pc:docMk/>
            <pc:sldMk cId="4112451551" sldId="2716"/>
            <ac:picMk id="3" creationId="{CEDFC07A-6CA9-40D3-B9A5-07121A673676}"/>
          </ac:picMkLst>
        </pc:picChg>
        <pc:picChg chg="add del mod">
          <ac:chgData name="Леонид Попов" userId="cc02b5965c9bae3b" providerId="LiveId" clId="{FDA48A03-3131-4F2F-A306-07301C63E802}" dt="2020-10-25T17:40:02.424" v="21553"/>
          <ac:picMkLst>
            <pc:docMk/>
            <pc:sldMk cId="4112451551" sldId="2716"/>
            <ac:picMk id="16" creationId="{69C858BD-89A8-4CAF-BA7B-B96D952A0D0E}"/>
          </ac:picMkLst>
        </pc:picChg>
        <pc:picChg chg="add mod">
          <ac:chgData name="Леонид Попов" userId="cc02b5965c9bae3b" providerId="LiveId" clId="{FDA48A03-3131-4F2F-A306-07301C63E802}" dt="2020-10-25T17:49:20.271" v="21666" actId="1036"/>
          <ac:picMkLst>
            <pc:docMk/>
            <pc:sldMk cId="4112451551" sldId="2716"/>
            <ac:picMk id="23" creationId="{8367FAC5-B91B-4A65-8D00-BBEE3781A414}"/>
          </ac:picMkLst>
        </pc:picChg>
        <pc:cxnChg chg="del">
          <ac:chgData name="Леонид Попов" userId="cc02b5965c9bae3b" providerId="LiveId" clId="{FDA48A03-3131-4F2F-A306-07301C63E802}" dt="2020-10-25T17:39:55.363" v="21528" actId="478"/>
          <ac:cxnSpMkLst>
            <pc:docMk/>
            <pc:sldMk cId="4112451551" sldId="2716"/>
            <ac:cxnSpMk id="8" creationId="{6B206BC4-9424-4956-A1B5-294F17591C5C}"/>
          </ac:cxnSpMkLst>
        </pc:cxnChg>
        <pc:cxnChg chg="del">
          <ac:chgData name="Леонид Попов" userId="cc02b5965c9bae3b" providerId="LiveId" clId="{FDA48A03-3131-4F2F-A306-07301C63E802}" dt="2020-10-25T17:39:55.363" v="21528" actId="478"/>
          <ac:cxnSpMkLst>
            <pc:docMk/>
            <pc:sldMk cId="4112451551" sldId="2716"/>
            <ac:cxnSpMk id="10" creationId="{67CBD7A9-37C8-4E4E-9D4A-103A2CB2423D}"/>
          </ac:cxnSpMkLst>
        </pc:cxnChg>
        <pc:cxnChg chg="del">
          <ac:chgData name="Леонид Попов" userId="cc02b5965c9bae3b" providerId="LiveId" clId="{FDA48A03-3131-4F2F-A306-07301C63E802}" dt="2020-10-25T17:39:55.363" v="21528" actId="478"/>
          <ac:cxnSpMkLst>
            <pc:docMk/>
            <pc:sldMk cId="4112451551" sldId="2716"/>
            <ac:cxnSpMk id="12" creationId="{C9135597-9A10-46F2-8530-DEEBC38EBD97}"/>
          </ac:cxnSpMkLst>
        </pc:cxnChg>
      </pc:sldChg>
      <pc:sldChg chg="addSp delSp modSp add mod modNotesTx">
        <pc:chgData name="Леонид Попов" userId="cc02b5965c9bae3b" providerId="LiveId" clId="{FDA48A03-3131-4F2F-A306-07301C63E802}" dt="2020-10-25T18:56:52.735" v="22636" actId="20577"/>
        <pc:sldMkLst>
          <pc:docMk/>
          <pc:sldMk cId="2717785047" sldId="2717"/>
        </pc:sldMkLst>
        <pc:spChg chg="mod">
          <ac:chgData name="Леонид Попов" userId="cc02b5965c9bae3b" providerId="LiveId" clId="{FDA48A03-3131-4F2F-A306-07301C63E802}" dt="2020-10-25T17:52:09.629" v="21695" actId="20577"/>
          <ac:spMkLst>
            <pc:docMk/>
            <pc:sldMk cId="2717785047" sldId="2717"/>
            <ac:spMk id="5" creationId="{68F6C310-34D7-4AB2-8D7D-EB0E5DD87498}"/>
          </ac:spMkLst>
        </pc:spChg>
        <pc:spChg chg="del">
          <ac:chgData name="Леонид Попов" userId="cc02b5965c9bae3b" providerId="LiveId" clId="{FDA48A03-3131-4F2F-A306-07301C63E802}" dt="2020-10-25T17:43:36.830" v="21606" actId="478"/>
          <ac:spMkLst>
            <pc:docMk/>
            <pc:sldMk cId="2717785047" sldId="2717"/>
            <ac:spMk id="25" creationId="{BA68F566-C815-45D9-9EFA-E30F5174EB73}"/>
          </ac:spMkLst>
        </pc:spChg>
        <pc:grpChg chg="del">
          <ac:chgData name="Леонид Попов" userId="cc02b5965c9bae3b" providerId="LiveId" clId="{FDA48A03-3131-4F2F-A306-07301C63E802}" dt="2020-10-25T17:43:34.009" v="21605" actId="478"/>
          <ac:grpSpMkLst>
            <pc:docMk/>
            <pc:sldMk cId="2717785047" sldId="2717"/>
            <ac:grpSpMk id="27" creationId="{4751EE0A-0EF7-4052-91BF-62B45F0823B8}"/>
          </ac:grpSpMkLst>
        </pc:grpChg>
        <pc:picChg chg="add mod">
          <ac:chgData name="Леонид Попов" userId="cc02b5965c9bae3b" providerId="LiveId" clId="{FDA48A03-3131-4F2F-A306-07301C63E802}" dt="2020-10-25T17:52:19.215" v="21698" actId="1076"/>
          <ac:picMkLst>
            <pc:docMk/>
            <pc:sldMk cId="2717785047" sldId="2717"/>
            <ac:picMk id="2" creationId="{D757561A-F686-4695-9E22-9464C654B65A}"/>
          </ac:picMkLst>
        </pc:picChg>
        <pc:picChg chg="del">
          <ac:chgData name="Леонид Попов" userId="cc02b5965c9bae3b" providerId="LiveId" clId="{FDA48A03-3131-4F2F-A306-07301C63E802}" dt="2020-10-25T17:43:34.009" v="21605" actId="478"/>
          <ac:picMkLst>
            <pc:docMk/>
            <pc:sldMk cId="2717785047" sldId="2717"/>
            <ac:picMk id="23" creationId="{8367FAC5-B91B-4A65-8D00-BBEE3781A414}"/>
          </ac:picMkLst>
        </pc:picChg>
      </pc:sldChg>
      <pc:sldChg chg="addSp delSp modSp add mod">
        <pc:chgData name="Леонид Попов" userId="cc02b5965c9bae3b" providerId="LiveId" clId="{FDA48A03-3131-4F2F-A306-07301C63E802}" dt="2020-10-25T17:45:49.771" v="21635" actId="1036"/>
        <pc:sldMkLst>
          <pc:docMk/>
          <pc:sldMk cId="4088160315" sldId="2718"/>
        </pc:sldMkLst>
        <pc:spChg chg="add del mod">
          <ac:chgData name="Леонид Попов" userId="cc02b5965c9bae3b" providerId="LiveId" clId="{FDA48A03-3131-4F2F-A306-07301C63E802}" dt="2020-10-25T17:45:42.458" v="21632"/>
          <ac:spMkLst>
            <pc:docMk/>
            <pc:sldMk cId="4088160315" sldId="2718"/>
            <ac:spMk id="18" creationId="{6D206791-F6F8-41A5-A9C4-18B3E4A220F5}"/>
          </ac:spMkLst>
        </pc:spChg>
        <pc:spChg chg="add del mod">
          <ac:chgData name="Леонид Попов" userId="cc02b5965c9bae3b" providerId="LiveId" clId="{FDA48A03-3131-4F2F-A306-07301C63E802}" dt="2020-10-25T17:45:42.458" v="21632"/>
          <ac:spMkLst>
            <pc:docMk/>
            <pc:sldMk cId="4088160315" sldId="2718"/>
            <ac:spMk id="20" creationId="{5CD848AF-0242-489F-9675-EBC288C8B892}"/>
          </ac:spMkLst>
        </pc:spChg>
        <pc:spChg chg="add del mod">
          <ac:chgData name="Леонид Попов" userId="cc02b5965c9bae3b" providerId="LiveId" clId="{FDA48A03-3131-4F2F-A306-07301C63E802}" dt="2020-10-25T17:45:42.458" v="21632"/>
          <ac:spMkLst>
            <pc:docMk/>
            <pc:sldMk cId="4088160315" sldId="2718"/>
            <ac:spMk id="21" creationId="{4257C873-83FC-4804-A7E9-F5BB2DD679B8}"/>
          </ac:spMkLst>
        </pc:spChg>
        <pc:spChg chg="add del mod">
          <ac:chgData name="Леонид Попов" userId="cc02b5965c9bae3b" providerId="LiveId" clId="{FDA48A03-3131-4F2F-A306-07301C63E802}" dt="2020-10-25T17:45:42.458" v="21632"/>
          <ac:spMkLst>
            <pc:docMk/>
            <pc:sldMk cId="4088160315" sldId="2718"/>
            <ac:spMk id="22" creationId="{D4E6E46D-F95F-4C3C-A0C6-8B5D8BFDF349}"/>
          </ac:spMkLst>
        </pc:spChg>
        <pc:spChg chg="add mod">
          <ac:chgData name="Леонид Попов" userId="cc02b5965c9bae3b" providerId="LiveId" clId="{FDA48A03-3131-4F2F-A306-07301C63E802}" dt="2020-10-25T17:45:49.771" v="21635" actId="1036"/>
          <ac:spMkLst>
            <pc:docMk/>
            <pc:sldMk cId="4088160315" sldId="2718"/>
            <ac:spMk id="25" creationId="{B512C7CD-E652-42AA-9D1F-CE39E410CB50}"/>
          </ac:spMkLst>
        </pc:spChg>
        <pc:spChg chg="add mod">
          <ac:chgData name="Леонид Попов" userId="cc02b5965c9bae3b" providerId="LiveId" clId="{FDA48A03-3131-4F2F-A306-07301C63E802}" dt="2020-10-25T17:45:49.771" v="21635" actId="1036"/>
          <ac:spMkLst>
            <pc:docMk/>
            <pc:sldMk cId="4088160315" sldId="2718"/>
            <ac:spMk id="27" creationId="{FF5A9937-E88C-4994-AB32-80DEF45CCE99}"/>
          </ac:spMkLst>
        </pc:spChg>
        <pc:spChg chg="add mod">
          <ac:chgData name="Леонид Попов" userId="cc02b5965c9bae3b" providerId="LiveId" clId="{FDA48A03-3131-4F2F-A306-07301C63E802}" dt="2020-10-25T17:45:49.771" v="21635" actId="1036"/>
          <ac:spMkLst>
            <pc:docMk/>
            <pc:sldMk cId="4088160315" sldId="2718"/>
            <ac:spMk id="28" creationId="{1A1DC564-82FA-46C0-A6B8-EE4120FD943D}"/>
          </ac:spMkLst>
        </pc:spChg>
        <pc:spChg chg="add mod">
          <ac:chgData name="Леонид Попов" userId="cc02b5965c9bae3b" providerId="LiveId" clId="{FDA48A03-3131-4F2F-A306-07301C63E802}" dt="2020-10-25T17:45:49.771" v="21635" actId="1036"/>
          <ac:spMkLst>
            <pc:docMk/>
            <pc:sldMk cId="4088160315" sldId="2718"/>
            <ac:spMk id="29" creationId="{0F0257E6-6C7D-4C07-8794-1EEF6B9DDA16}"/>
          </ac:spMkLst>
        </pc:spChg>
        <pc:picChg chg="del">
          <ac:chgData name="Леонид Попов" userId="cc02b5965c9bae3b" providerId="LiveId" clId="{FDA48A03-3131-4F2F-A306-07301C63E802}" dt="2020-10-25T17:45:15.275" v="21624" actId="478"/>
          <ac:picMkLst>
            <pc:docMk/>
            <pc:sldMk cId="4088160315" sldId="2718"/>
            <ac:picMk id="3" creationId="{CEDFC07A-6CA9-40D3-B9A5-07121A673676}"/>
          </ac:picMkLst>
        </pc:picChg>
        <pc:picChg chg="add del mod">
          <ac:chgData name="Леонид Попов" userId="cc02b5965c9bae3b" providerId="LiveId" clId="{FDA48A03-3131-4F2F-A306-07301C63E802}" dt="2020-10-25T17:45:42.458" v="21632"/>
          <ac:picMkLst>
            <pc:docMk/>
            <pc:sldMk cId="4088160315" sldId="2718"/>
            <ac:picMk id="16" creationId="{554266CB-DED2-4ACF-BE3A-706F57835EE0}"/>
          </ac:picMkLst>
        </pc:picChg>
        <pc:picChg chg="add del mod">
          <ac:chgData name="Леонид Попов" userId="cc02b5965c9bae3b" providerId="LiveId" clId="{FDA48A03-3131-4F2F-A306-07301C63E802}" dt="2020-10-25T17:45:42.458" v="21632"/>
          <ac:picMkLst>
            <pc:docMk/>
            <pc:sldMk cId="4088160315" sldId="2718"/>
            <ac:picMk id="17" creationId="{4A6F8A4D-54C1-4558-9D49-A89956CF0C71}"/>
          </ac:picMkLst>
        </pc:picChg>
        <pc:picChg chg="add mod">
          <ac:chgData name="Леонид Попов" userId="cc02b5965c9bae3b" providerId="LiveId" clId="{FDA48A03-3131-4F2F-A306-07301C63E802}" dt="2020-10-25T17:45:49.771" v="21635" actId="1036"/>
          <ac:picMkLst>
            <pc:docMk/>
            <pc:sldMk cId="4088160315" sldId="2718"/>
            <ac:picMk id="23" creationId="{D43EF4BC-3679-429A-864D-D2E049FF621B}"/>
          </ac:picMkLst>
        </pc:picChg>
        <pc:picChg chg="add mod">
          <ac:chgData name="Леонид Попов" userId="cc02b5965c9bae3b" providerId="LiveId" clId="{FDA48A03-3131-4F2F-A306-07301C63E802}" dt="2020-10-25T17:45:49.771" v="21635" actId="1036"/>
          <ac:picMkLst>
            <pc:docMk/>
            <pc:sldMk cId="4088160315" sldId="2718"/>
            <ac:picMk id="24" creationId="{7A40D0C2-863B-4557-901C-078174BAFEF7}"/>
          </ac:picMkLst>
        </pc:picChg>
        <pc:cxnChg chg="add del mod">
          <ac:chgData name="Леонид Попов" userId="cc02b5965c9bae3b" providerId="LiveId" clId="{FDA48A03-3131-4F2F-A306-07301C63E802}" dt="2020-10-25T17:45:42.458" v="21632"/>
          <ac:cxnSpMkLst>
            <pc:docMk/>
            <pc:sldMk cId="4088160315" sldId="2718"/>
            <ac:cxnSpMk id="19" creationId="{6F27ABED-7EA8-4C4F-B328-BABB2229DD4F}"/>
          </ac:cxnSpMkLst>
        </pc:cxnChg>
        <pc:cxnChg chg="add mod">
          <ac:chgData name="Леонид Попов" userId="cc02b5965c9bae3b" providerId="LiveId" clId="{FDA48A03-3131-4F2F-A306-07301C63E802}" dt="2020-10-25T17:45:49.771" v="21635" actId="1036"/>
          <ac:cxnSpMkLst>
            <pc:docMk/>
            <pc:sldMk cId="4088160315" sldId="2718"/>
            <ac:cxnSpMk id="26" creationId="{E1FAD404-7211-42C6-AEF5-678AE078ABD6}"/>
          </ac:cxnSpMkLst>
        </pc:cxn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t" anchorCtr="0" compatLnSpc="1">
            <a:prstTxWarp prst="textNoShape">
              <a:avLst/>
            </a:prstTxWarp>
          </a:bodyPr>
          <a:lstStyle>
            <a:lvl1pPr defTabSz="912813" eaLnBrk="0" hangingPunct="0">
              <a:lnSpc>
                <a:spcPct val="100000"/>
              </a:lnSpc>
              <a:spcBef>
                <a:spcPct val="0"/>
              </a:spcBef>
              <a:buSzTx/>
              <a:buFontTx/>
              <a:buNone/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48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275" y="0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t" anchorCtr="0" compatLnSpc="1">
            <a:prstTxWarp prst="textNoShape">
              <a:avLst/>
            </a:prstTxWarp>
          </a:bodyPr>
          <a:lstStyle>
            <a:lvl1pPr algn="r" defTabSz="912813" eaLnBrk="0" hangingPunct="0">
              <a:lnSpc>
                <a:spcPct val="100000"/>
              </a:lnSpc>
              <a:spcBef>
                <a:spcPct val="0"/>
              </a:spcBef>
              <a:buSzTx/>
              <a:buFontTx/>
              <a:buNone/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48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6575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b" anchorCtr="0" compatLnSpc="1">
            <a:prstTxWarp prst="textNoShape">
              <a:avLst/>
            </a:prstTxWarp>
          </a:bodyPr>
          <a:lstStyle>
            <a:lvl1pPr defTabSz="912813" eaLnBrk="0" hangingPunct="0">
              <a:lnSpc>
                <a:spcPct val="100000"/>
              </a:lnSpc>
              <a:spcBef>
                <a:spcPct val="0"/>
              </a:spcBef>
              <a:buSzTx/>
              <a:buFontTx/>
              <a:buNone/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48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426575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b" anchorCtr="0" compatLnSpc="1">
            <a:prstTxWarp prst="textNoShape">
              <a:avLst/>
            </a:prstTxWarp>
          </a:bodyPr>
          <a:lstStyle>
            <a:lvl1pPr algn="r" defTabSz="912813">
              <a:defRPr sz="1200" b="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</a:lstStyle>
          <a:p>
            <a:fld id="{37B7DC11-DDBE-4678-95F7-C68FA074C5D5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t" anchorCtr="0" compatLnSpc="1">
            <a:prstTxWarp prst="textNoShape">
              <a:avLst/>
            </a:prstTxWarp>
          </a:bodyPr>
          <a:lstStyle>
            <a:lvl1pPr defTabSz="912813" eaLnBrk="0" hangingPunct="0">
              <a:lnSpc>
                <a:spcPct val="100000"/>
              </a:lnSpc>
              <a:spcBef>
                <a:spcPct val="0"/>
              </a:spcBef>
              <a:buSzTx/>
              <a:buFontTx/>
              <a:buNone/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075" name="Rectangle 3"/>
          <p:cNvSpPr>
            <a:spLocks noGrp="1" noRot="1" noChangeAspect="1" noChangeArrowheads="1"/>
          </p:cNvSpPr>
          <p:nvPr>
            <p:ph type="sldImg" idx="2"/>
          </p:nvPr>
        </p:nvSpPr>
        <p:spPr bwMode="auto">
          <a:xfrm>
            <a:off x="90488" y="742950"/>
            <a:ext cx="6616700" cy="37226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52" name="Rectangle 4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463" y="4714875"/>
            <a:ext cx="4984750" cy="446881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2053" name="Rectangle 5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5" y="0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t" anchorCtr="0" compatLnSpc="1">
            <a:prstTxWarp prst="textNoShape">
              <a:avLst/>
            </a:prstTxWarp>
          </a:bodyPr>
          <a:lstStyle>
            <a:lvl1pPr algn="r" defTabSz="912813" eaLnBrk="0" hangingPunct="0">
              <a:lnSpc>
                <a:spcPct val="100000"/>
              </a:lnSpc>
              <a:spcBef>
                <a:spcPct val="0"/>
              </a:spcBef>
              <a:buSzTx/>
              <a:buFontTx/>
              <a:buNone/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6575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b" anchorCtr="0" compatLnSpc="1">
            <a:prstTxWarp prst="textNoShape">
              <a:avLst/>
            </a:prstTxWarp>
          </a:bodyPr>
          <a:lstStyle>
            <a:lvl1pPr defTabSz="912813" eaLnBrk="0" hangingPunct="0">
              <a:lnSpc>
                <a:spcPct val="100000"/>
              </a:lnSpc>
              <a:spcBef>
                <a:spcPct val="0"/>
              </a:spcBef>
              <a:buSzTx/>
              <a:buFontTx/>
              <a:buNone/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5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5" y="9426575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b" anchorCtr="0" compatLnSpc="1">
            <a:prstTxWarp prst="textNoShape">
              <a:avLst/>
            </a:prstTxWarp>
          </a:bodyPr>
          <a:lstStyle>
            <a:lvl1pPr algn="r" defTabSz="912813">
              <a:defRPr sz="1200" b="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</a:lstStyle>
          <a:p>
            <a:fld id="{7BAF3600-01B7-4D3D-A0CA-AC5E9E639727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76238" y="500063"/>
            <a:ext cx="6045200" cy="3400425"/>
          </a:xfrm>
          <a:ln/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>
          <a:xfrm>
            <a:off x="160484" y="4099223"/>
            <a:ext cx="6476703" cy="4711700"/>
          </a:xfrm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endParaRPr lang="ru-RU" altLang="ru-RU" sz="1400" dirty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6B185F1C-C19E-4962-9506-405726A497E4}" type="slidenum">
              <a:rPr lang="ru-RU" altLang="ru-RU" sz="1200" b="0">
                <a:solidFill>
                  <a:srgbClr val="000000"/>
                </a:solidFill>
                <a:latin typeface="Times New Roman" panose="02020603050405020304" pitchFamily="18" charset="0"/>
                <a:cs typeface="Arial" panose="020B0604020202020204" pitchFamily="34" charset="0"/>
              </a:rPr>
              <a:pPr eaLnBrk="1" hangingPunct="1"/>
              <a:t>1</a:t>
            </a:fld>
            <a:endParaRPr lang="ru-RU" altLang="ru-RU" sz="1200" b="0">
              <a:solidFill>
                <a:srgbClr val="000000"/>
              </a:solidFill>
              <a:latin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7107" name="Заметки 2"/>
          <p:cNvSpPr>
            <a:spLocks noGrp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endParaRPr lang="ru-RU" altLang="ru-RU"/>
          </a:p>
        </p:txBody>
      </p:sp>
      <p:sp>
        <p:nvSpPr>
          <p:cNvPr id="471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60AD629-4B92-4593-B807-E282DEA2D240}" type="slidenum">
              <a:rPr kumimoji="0" lang="ru-RU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59015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439863" y="1060450"/>
            <a:ext cx="8642350" cy="2255838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39863" y="3403600"/>
            <a:ext cx="8642350" cy="156527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9756380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5192931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472488" y="107950"/>
            <a:ext cx="2733675" cy="44926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271463" y="107950"/>
            <a:ext cx="8048625" cy="44926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583434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71463" y="107950"/>
            <a:ext cx="10934700" cy="44926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1194475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439863" y="1060450"/>
            <a:ext cx="8642350" cy="2255838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39863" y="3403600"/>
            <a:ext cx="8642350" cy="156527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892527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31063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5813" y="1616075"/>
            <a:ext cx="9937750" cy="269557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5813" y="4337050"/>
            <a:ext cx="9937750" cy="1417638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0020237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71463" y="1606550"/>
            <a:ext cx="5391150" cy="29940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15013" y="1606550"/>
            <a:ext cx="5391150" cy="29940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1544433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344488"/>
            <a:ext cx="9937750" cy="125253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3750" y="1589088"/>
            <a:ext cx="4873625" cy="7778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93750" y="2366963"/>
            <a:ext cx="4873625" cy="34813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32475" y="1589088"/>
            <a:ext cx="4899025" cy="7778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32475" y="2366963"/>
            <a:ext cx="4899025" cy="34813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453922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6502273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69040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07506592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431800"/>
            <a:ext cx="3716338" cy="151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99025" y="933450"/>
            <a:ext cx="5832475" cy="460533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750" y="1944688"/>
            <a:ext cx="3716338" cy="360045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72461850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431800"/>
            <a:ext cx="3716338" cy="151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899025" y="933450"/>
            <a:ext cx="5832475" cy="46053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750" y="1944688"/>
            <a:ext cx="3716338" cy="360045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480280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0436580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472488" y="107950"/>
            <a:ext cx="2733675" cy="44926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271463" y="107950"/>
            <a:ext cx="8048625" cy="44926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001803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71463" y="107950"/>
            <a:ext cx="10934700" cy="44926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739727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2988" y="107950"/>
            <a:ext cx="8893175" cy="102235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271463" y="1606550"/>
            <a:ext cx="10934700" cy="2994025"/>
          </a:xfrm>
        </p:spPr>
        <p:txBody>
          <a:bodyPr/>
          <a:lstStyle/>
          <a:p>
            <a:pPr lvl="0"/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9441593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439863" y="1060450"/>
            <a:ext cx="8642350" cy="2255838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39863" y="3403600"/>
            <a:ext cx="8642350" cy="156527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3929138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5724005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5813" y="1616075"/>
            <a:ext cx="9937750" cy="269557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5813" y="4337050"/>
            <a:ext cx="9937750" cy="1417638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04688342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71463" y="1606550"/>
            <a:ext cx="5391150" cy="29940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15013" y="1606550"/>
            <a:ext cx="5391150" cy="29940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1755352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5813" y="1616075"/>
            <a:ext cx="9937750" cy="269557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5813" y="4337050"/>
            <a:ext cx="9937750" cy="1417638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21872203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344488"/>
            <a:ext cx="9937750" cy="125253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3750" y="1589088"/>
            <a:ext cx="4873625" cy="7778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93750" y="2366963"/>
            <a:ext cx="4873625" cy="34813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32475" y="1589088"/>
            <a:ext cx="4899025" cy="7778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32475" y="2366963"/>
            <a:ext cx="4899025" cy="34813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7565414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054898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0755822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431800"/>
            <a:ext cx="3716338" cy="151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99025" y="933450"/>
            <a:ext cx="5832475" cy="460533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750" y="1944688"/>
            <a:ext cx="3716338" cy="360045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7323757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431800"/>
            <a:ext cx="3716338" cy="151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899025" y="933450"/>
            <a:ext cx="5832475" cy="46053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750" y="1944688"/>
            <a:ext cx="3716338" cy="360045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91307017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5576659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472488" y="107950"/>
            <a:ext cx="2733675" cy="44926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271463" y="107950"/>
            <a:ext cx="8048625" cy="44926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2382532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71463" y="107950"/>
            <a:ext cx="10934700" cy="44926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26518630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2988" y="107950"/>
            <a:ext cx="8893175" cy="102235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271463" y="1606550"/>
            <a:ext cx="10934700" cy="2994025"/>
          </a:xfrm>
        </p:spPr>
        <p:txBody>
          <a:bodyPr/>
          <a:lstStyle/>
          <a:p>
            <a:pPr lvl="0"/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313480806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ChangeArrowheads="1"/>
          </p:cNvSpPr>
          <p:nvPr userDrawn="1"/>
        </p:nvSpPr>
        <p:spPr bwMode="auto">
          <a:xfrm rot="5400000">
            <a:off x="4140244" y="-4140243"/>
            <a:ext cx="3241588" cy="115220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40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70319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71463" y="1606550"/>
            <a:ext cx="5391150" cy="29940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15013" y="1606550"/>
            <a:ext cx="5391150" cy="29940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0055971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92143" y="1724652"/>
            <a:ext cx="9937790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14177168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6142" y="1615174"/>
            <a:ext cx="9937790" cy="2696448"/>
          </a:xfrm>
        </p:spPr>
        <p:txBody>
          <a:bodyPr anchor="b"/>
          <a:lstStyle>
            <a:lvl1pPr>
              <a:defRPr sz="5668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6142" y="4337115"/>
            <a:ext cx="9937790" cy="14172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68"/>
            </a:lvl1pPr>
            <a:lvl2pPr marL="431922" indent="0">
              <a:buNone/>
              <a:defRPr sz="1890"/>
            </a:lvl2pPr>
            <a:lvl3pPr marL="863844" indent="0">
              <a:buNone/>
              <a:defRPr sz="1701"/>
            </a:lvl3pPr>
            <a:lvl4pPr marL="1295766" indent="0">
              <a:buNone/>
              <a:defRPr sz="1512"/>
            </a:lvl4pPr>
            <a:lvl5pPr marL="1727687" indent="0">
              <a:buNone/>
              <a:defRPr sz="1512"/>
            </a:lvl5pPr>
            <a:lvl6pPr marL="2159610" indent="0">
              <a:buNone/>
              <a:defRPr sz="1512"/>
            </a:lvl6pPr>
            <a:lvl7pPr marL="2591531" indent="0">
              <a:buNone/>
              <a:defRPr sz="1512"/>
            </a:lvl7pPr>
            <a:lvl8pPr marL="3023453" indent="0">
              <a:buNone/>
              <a:defRPr sz="1512"/>
            </a:lvl8pPr>
            <a:lvl9pPr marL="3455375" indent="0">
              <a:buNone/>
              <a:defRPr sz="151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18535446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792142" y="1724652"/>
            <a:ext cx="4872878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57055" y="1724652"/>
            <a:ext cx="4872878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9867040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43" y="344930"/>
            <a:ext cx="9937790" cy="1252244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4153" y="1588181"/>
            <a:ext cx="4874877" cy="7783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68" b="1"/>
            </a:lvl1pPr>
            <a:lvl2pPr marL="431922" indent="0">
              <a:buNone/>
              <a:defRPr sz="1890" b="1"/>
            </a:lvl2pPr>
            <a:lvl3pPr marL="863844" indent="0">
              <a:buNone/>
              <a:defRPr sz="1701" b="1"/>
            </a:lvl3pPr>
            <a:lvl4pPr marL="1295766" indent="0">
              <a:buNone/>
              <a:defRPr sz="1512" b="1"/>
            </a:lvl4pPr>
            <a:lvl5pPr marL="1727687" indent="0">
              <a:buNone/>
              <a:defRPr sz="1512" b="1"/>
            </a:lvl5pPr>
            <a:lvl6pPr marL="2159610" indent="0">
              <a:buNone/>
              <a:defRPr sz="1512" b="1"/>
            </a:lvl6pPr>
            <a:lvl7pPr marL="2591531" indent="0">
              <a:buNone/>
              <a:defRPr sz="1512" b="1"/>
            </a:lvl7pPr>
            <a:lvl8pPr marL="3023453" indent="0">
              <a:buNone/>
              <a:defRPr sz="1512" b="1"/>
            </a:lvl8pPr>
            <a:lvl9pPr marL="3455375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94153" y="2366516"/>
            <a:ext cx="4874877" cy="34822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33050" y="1588181"/>
            <a:ext cx="4898883" cy="7783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68" b="1"/>
            </a:lvl1pPr>
            <a:lvl2pPr marL="431922" indent="0">
              <a:buNone/>
              <a:defRPr sz="1890" b="1"/>
            </a:lvl2pPr>
            <a:lvl3pPr marL="863844" indent="0">
              <a:buNone/>
              <a:defRPr sz="1701" b="1"/>
            </a:lvl3pPr>
            <a:lvl4pPr marL="1295766" indent="0">
              <a:buNone/>
              <a:defRPr sz="1512" b="1"/>
            </a:lvl4pPr>
            <a:lvl5pPr marL="1727687" indent="0">
              <a:buNone/>
              <a:defRPr sz="1512" b="1"/>
            </a:lvl5pPr>
            <a:lvl6pPr marL="2159610" indent="0">
              <a:buNone/>
              <a:defRPr sz="1512" b="1"/>
            </a:lvl6pPr>
            <a:lvl7pPr marL="2591531" indent="0">
              <a:buNone/>
              <a:defRPr sz="1512" b="1"/>
            </a:lvl7pPr>
            <a:lvl8pPr marL="3023453" indent="0">
              <a:buNone/>
              <a:defRPr sz="1512" b="1"/>
            </a:lvl8pPr>
            <a:lvl9pPr marL="3455375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33050" y="2366516"/>
            <a:ext cx="4898883" cy="34822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9903747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62006671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6785802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55" y="431912"/>
            <a:ext cx="3716669" cy="1511691"/>
          </a:xfrm>
        </p:spPr>
        <p:txBody>
          <a:bodyPr anchor="b"/>
          <a:lstStyle>
            <a:lvl1pPr>
              <a:defRPr sz="3023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98883" y="932810"/>
            <a:ext cx="5833050" cy="4605558"/>
          </a:xfrm>
          <a:prstGeom prst="rect">
            <a:avLst/>
          </a:prstGeom>
        </p:spPr>
        <p:txBody>
          <a:bodyPr/>
          <a:lstStyle>
            <a:lvl1pPr>
              <a:defRPr sz="3023"/>
            </a:lvl1pPr>
            <a:lvl2pPr>
              <a:defRPr sz="2645"/>
            </a:lvl2pPr>
            <a:lvl3pPr>
              <a:defRPr sz="2268"/>
            </a:lvl3pPr>
            <a:lvl4pPr>
              <a:defRPr sz="1890"/>
            </a:lvl4pPr>
            <a:lvl5pPr>
              <a:defRPr sz="1890"/>
            </a:lvl5pPr>
            <a:lvl6pPr>
              <a:defRPr sz="1890"/>
            </a:lvl6pPr>
            <a:lvl7pPr>
              <a:defRPr sz="1890"/>
            </a:lvl7pPr>
            <a:lvl8pPr>
              <a:defRPr sz="1890"/>
            </a:lvl8pPr>
            <a:lvl9pPr>
              <a:defRPr sz="189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4155" y="1943603"/>
            <a:ext cx="3716669" cy="3602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12"/>
            </a:lvl1pPr>
            <a:lvl2pPr marL="431922" indent="0">
              <a:buNone/>
              <a:defRPr sz="1323"/>
            </a:lvl2pPr>
            <a:lvl3pPr marL="863844" indent="0">
              <a:buNone/>
              <a:defRPr sz="1134"/>
            </a:lvl3pPr>
            <a:lvl4pPr marL="1295766" indent="0">
              <a:buNone/>
              <a:defRPr sz="945"/>
            </a:lvl4pPr>
            <a:lvl5pPr marL="1727687" indent="0">
              <a:buNone/>
              <a:defRPr sz="945"/>
            </a:lvl5pPr>
            <a:lvl6pPr marL="2159610" indent="0">
              <a:buNone/>
              <a:defRPr sz="945"/>
            </a:lvl6pPr>
            <a:lvl7pPr marL="2591531" indent="0">
              <a:buNone/>
              <a:defRPr sz="945"/>
            </a:lvl7pPr>
            <a:lvl8pPr marL="3023453" indent="0">
              <a:buNone/>
              <a:defRPr sz="945"/>
            </a:lvl8pPr>
            <a:lvl9pPr marL="3455375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77987309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55" y="431912"/>
            <a:ext cx="3716669" cy="1511691"/>
          </a:xfrm>
        </p:spPr>
        <p:txBody>
          <a:bodyPr anchor="b"/>
          <a:lstStyle>
            <a:lvl1pPr>
              <a:defRPr sz="3023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898883" y="932810"/>
            <a:ext cx="5833050" cy="46055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23"/>
            </a:lvl1pPr>
            <a:lvl2pPr marL="431922" indent="0">
              <a:buNone/>
              <a:defRPr sz="2645"/>
            </a:lvl2pPr>
            <a:lvl3pPr marL="863844" indent="0">
              <a:buNone/>
              <a:defRPr sz="2268"/>
            </a:lvl3pPr>
            <a:lvl4pPr marL="1295766" indent="0">
              <a:buNone/>
              <a:defRPr sz="1890"/>
            </a:lvl4pPr>
            <a:lvl5pPr marL="1727687" indent="0">
              <a:buNone/>
              <a:defRPr sz="1890"/>
            </a:lvl5pPr>
            <a:lvl6pPr marL="2159610" indent="0">
              <a:buNone/>
              <a:defRPr sz="1890"/>
            </a:lvl6pPr>
            <a:lvl7pPr marL="2591531" indent="0">
              <a:buNone/>
              <a:defRPr sz="1890"/>
            </a:lvl7pPr>
            <a:lvl8pPr marL="3023453" indent="0">
              <a:buNone/>
              <a:defRPr sz="1890"/>
            </a:lvl8pPr>
            <a:lvl9pPr marL="3455375" indent="0">
              <a:buNone/>
              <a:defRPr sz="189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4155" y="1943603"/>
            <a:ext cx="3716669" cy="3602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12"/>
            </a:lvl1pPr>
            <a:lvl2pPr marL="431922" indent="0">
              <a:buNone/>
              <a:defRPr sz="1323"/>
            </a:lvl2pPr>
            <a:lvl3pPr marL="863844" indent="0">
              <a:buNone/>
              <a:defRPr sz="1134"/>
            </a:lvl3pPr>
            <a:lvl4pPr marL="1295766" indent="0">
              <a:buNone/>
              <a:defRPr sz="945"/>
            </a:lvl4pPr>
            <a:lvl5pPr marL="1727687" indent="0">
              <a:buNone/>
              <a:defRPr sz="945"/>
            </a:lvl5pPr>
            <a:lvl6pPr marL="2159610" indent="0">
              <a:buNone/>
              <a:defRPr sz="945"/>
            </a:lvl6pPr>
            <a:lvl7pPr marL="2591531" indent="0">
              <a:buNone/>
              <a:defRPr sz="945"/>
            </a:lvl7pPr>
            <a:lvl8pPr marL="3023453" indent="0">
              <a:buNone/>
              <a:defRPr sz="945"/>
            </a:lvl8pPr>
            <a:lvl9pPr marL="3455375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2836184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2143" y="1724652"/>
            <a:ext cx="9937790" cy="411215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29089953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245487" y="0"/>
            <a:ext cx="2484447" cy="5836806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2153" y="0"/>
            <a:ext cx="7261308" cy="5836806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692653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344488"/>
            <a:ext cx="9937750" cy="125253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3750" y="1589088"/>
            <a:ext cx="4873625" cy="7778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93750" y="2366963"/>
            <a:ext cx="4873625" cy="34813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32475" y="1589088"/>
            <a:ext cx="4899025" cy="7778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32475" y="2366963"/>
            <a:ext cx="4899025" cy="34813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38362833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ChangeArrowheads="1"/>
          </p:cNvSpPr>
          <p:nvPr userDrawn="1"/>
        </p:nvSpPr>
        <p:spPr bwMode="auto">
          <a:xfrm rot="5400000">
            <a:off x="4140244" y="-4140243"/>
            <a:ext cx="3241588" cy="115220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40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257393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92143" y="1724652"/>
            <a:ext cx="9937790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6530475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6142" y="1615174"/>
            <a:ext cx="9937790" cy="2696448"/>
          </a:xfrm>
        </p:spPr>
        <p:txBody>
          <a:bodyPr anchor="b"/>
          <a:lstStyle>
            <a:lvl1pPr>
              <a:defRPr sz="5668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6142" y="4337115"/>
            <a:ext cx="9937790" cy="14172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68"/>
            </a:lvl1pPr>
            <a:lvl2pPr marL="431922" indent="0">
              <a:buNone/>
              <a:defRPr sz="1890"/>
            </a:lvl2pPr>
            <a:lvl3pPr marL="863844" indent="0">
              <a:buNone/>
              <a:defRPr sz="1701"/>
            </a:lvl3pPr>
            <a:lvl4pPr marL="1295766" indent="0">
              <a:buNone/>
              <a:defRPr sz="1512"/>
            </a:lvl4pPr>
            <a:lvl5pPr marL="1727687" indent="0">
              <a:buNone/>
              <a:defRPr sz="1512"/>
            </a:lvl5pPr>
            <a:lvl6pPr marL="2159610" indent="0">
              <a:buNone/>
              <a:defRPr sz="1512"/>
            </a:lvl6pPr>
            <a:lvl7pPr marL="2591531" indent="0">
              <a:buNone/>
              <a:defRPr sz="1512"/>
            </a:lvl7pPr>
            <a:lvl8pPr marL="3023453" indent="0">
              <a:buNone/>
              <a:defRPr sz="1512"/>
            </a:lvl8pPr>
            <a:lvl9pPr marL="3455375" indent="0">
              <a:buNone/>
              <a:defRPr sz="151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5550811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792142" y="1724652"/>
            <a:ext cx="4872878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57055" y="1724652"/>
            <a:ext cx="4872878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0383696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43" y="344930"/>
            <a:ext cx="9937790" cy="1252244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4153" y="1588181"/>
            <a:ext cx="4874877" cy="7783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68" b="1"/>
            </a:lvl1pPr>
            <a:lvl2pPr marL="431922" indent="0">
              <a:buNone/>
              <a:defRPr sz="1890" b="1"/>
            </a:lvl2pPr>
            <a:lvl3pPr marL="863844" indent="0">
              <a:buNone/>
              <a:defRPr sz="1701" b="1"/>
            </a:lvl3pPr>
            <a:lvl4pPr marL="1295766" indent="0">
              <a:buNone/>
              <a:defRPr sz="1512" b="1"/>
            </a:lvl4pPr>
            <a:lvl5pPr marL="1727687" indent="0">
              <a:buNone/>
              <a:defRPr sz="1512" b="1"/>
            </a:lvl5pPr>
            <a:lvl6pPr marL="2159610" indent="0">
              <a:buNone/>
              <a:defRPr sz="1512" b="1"/>
            </a:lvl6pPr>
            <a:lvl7pPr marL="2591531" indent="0">
              <a:buNone/>
              <a:defRPr sz="1512" b="1"/>
            </a:lvl7pPr>
            <a:lvl8pPr marL="3023453" indent="0">
              <a:buNone/>
              <a:defRPr sz="1512" b="1"/>
            </a:lvl8pPr>
            <a:lvl9pPr marL="3455375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94153" y="2366516"/>
            <a:ext cx="4874877" cy="34822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33050" y="1588181"/>
            <a:ext cx="4898883" cy="7783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68" b="1"/>
            </a:lvl1pPr>
            <a:lvl2pPr marL="431922" indent="0">
              <a:buNone/>
              <a:defRPr sz="1890" b="1"/>
            </a:lvl2pPr>
            <a:lvl3pPr marL="863844" indent="0">
              <a:buNone/>
              <a:defRPr sz="1701" b="1"/>
            </a:lvl3pPr>
            <a:lvl4pPr marL="1295766" indent="0">
              <a:buNone/>
              <a:defRPr sz="1512" b="1"/>
            </a:lvl4pPr>
            <a:lvl5pPr marL="1727687" indent="0">
              <a:buNone/>
              <a:defRPr sz="1512" b="1"/>
            </a:lvl5pPr>
            <a:lvl6pPr marL="2159610" indent="0">
              <a:buNone/>
              <a:defRPr sz="1512" b="1"/>
            </a:lvl6pPr>
            <a:lvl7pPr marL="2591531" indent="0">
              <a:buNone/>
              <a:defRPr sz="1512" b="1"/>
            </a:lvl7pPr>
            <a:lvl8pPr marL="3023453" indent="0">
              <a:buNone/>
              <a:defRPr sz="1512" b="1"/>
            </a:lvl8pPr>
            <a:lvl9pPr marL="3455375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33050" y="2366516"/>
            <a:ext cx="4898883" cy="34822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0796570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18282792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681362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55" y="431912"/>
            <a:ext cx="3716669" cy="1511691"/>
          </a:xfrm>
        </p:spPr>
        <p:txBody>
          <a:bodyPr anchor="b"/>
          <a:lstStyle>
            <a:lvl1pPr>
              <a:defRPr sz="3023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98883" y="932810"/>
            <a:ext cx="5833050" cy="4605558"/>
          </a:xfrm>
          <a:prstGeom prst="rect">
            <a:avLst/>
          </a:prstGeom>
        </p:spPr>
        <p:txBody>
          <a:bodyPr/>
          <a:lstStyle>
            <a:lvl1pPr>
              <a:defRPr sz="3023"/>
            </a:lvl1pPr>
            <a:lvl2pPr>
              <a:defRPr sz="2645"/>
            </a:lvl2pPr>
            <a:lvl3pPr>
              <a:defRPr sz="2268"/>
            </a:lvl3pPr>
            <a:lvl4pPr>
              <a:defRPr sz="1890"/>
            </a:lvl4pPr>
            <a:lvl5pPr>
              <a:defRPr sz="1890"/>
            </a:lvl5pPr>
            <a:lvl6pPr>
              <a:defRPr sz="1890"/>
            </a:lvl6pPr>
            <a:lvl7pPr>
              <a:defRPr sz="1890"/>
            </a:lvl7pPr>
            <a:lvl8pPr>
              <a:defRPr sz="1890"/>
            </a:lvl8pPr>
            <a:lvl9pPr>
              <a:defRPr sz="189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4155" y="1943603"/>
            <a:ext cx="3716669" cy="3602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12"/>
            </a:lvl1pPr>
            <a:lvl2pPr marL="431922" indent="0">
              <a:buNone/>
              <a:defRPr sz="1323"/>
            </a:lvl2pPr>
            <a:lvl3pPr marL="863844" indent="0">
              <a:buNone/>
              <a:defRPr sz="1134"/>
            </a:lvl3pPr>
            <a:lvl4pPr marL="1295766" indent="0">
              <a:buNone/>
              <a:defRPr sz="945"/>
            </a:lvl4pPr>
            <a:lvl5pPr marL="1727687" indent="0">
              <a:buNone/>
              <a:defRPr sz="945"/>
            </a:lvl5pPr>
            <a:lvl6pPr marL="2159610" indent="0">
              <a:buNone/>
              <a:defRPr sz="945"/>
            </a:lvl6pPr>
            <a:lvl7pPr marL="2591531" indent="0">
              <a:buNone/>
              <a:defRPr sz="945"/>
            </a:lvl7pPr>
            <a:lvl8pPr marL="3023453" indent="0">
              <a:buNone/>
              <a:defRPr sz="945"/>
            </a:lvl8pPr>
            <a:lvl9pPr marL="3455375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26308346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55" y="431912"/>
            <a:ext cx="3716669" cy="1511691"/>
          </a:xfrm>
        </p:spPr>
        <p:txBody>
          <a:bodyPr anchor="b"/>
          <a:lstStyle>
            <a:lvl1pPr>
              <a:defRPr sz="3023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898883" y="932810"/>
            <a:ext cx="5833050" cy="46055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23"/>
            </a:lvl1pPr>
            <a:lvl2pPr marL="431922" indent="0">
              <a:buNone/>
              <a:defRPr sz="2645"/>
            </a:lvl2pPr>
            <a:lvl3pPr marL="863844" indent="0">
              <a:buNone/>
              <a:defRPr sz="2268"/>
            </a:lvl3pPr>
            <a:lvl4pPr marL="1295766" indent="0">
              <a:buNone/>
              <a:defRPr sz="1890"/>
            </a:lvl4pPr>
            <a:lvl5pPr marL="1727687" indent="0">
              <a:buNone/>
              <a:defRPr sz="1890"/>
            </a:lvl5pPr>
            <a:lvl6pPr marL="2159610" indent="0">
              <a:buNone/>
              <a:defRPr sz="1890"/>
            </a:lvl6pPr>
            <a:lvl7pPr marL="2591531" indent="0">
              <a:buNone/>
              <a:defRPr sz="1890"/>
            </a:lvl7pPr>
            <a:lvl8pPr marL="3023453" indent="0">
              <a:buNone/>
              <a:defRPr sz="1890"/>
            </a:lvl8pPr>
            <a:lvl9pPr marL="3455375" indent="0">
              <a:buNone/>
              <a:defRPr sz="189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4155" y="1943603"/>
            <a:ext cx="3716669" cy="3602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12"/>
            </a:lvl1pPr>
            <a:lvl2pPr marL="431922" indent="0">
              <a:buNone/>
              <a:defRPr sz="1323"/>
            </a:lvl2pPr>
            <a:lvl3pPr marL="863844" indent="0">
              <a:buNone/>
              <a:defRPr sz="1134"/>
            </a:lvl3pPr>
            <a:lvl4pPr marL="1295766" indent="0">
              <a:buNone/>
              <a:defRPr sz="945"/>
            </a:lvl4pPr>
            <a:lvl5pPr marL="1727687" indent="0">
              <a:buNone/>
              <a:defRPr sz="945"/>
            </a:lvl5pPr>
            <a:lvl6pPr marL="2159610" indent="0">
              <a:buNone/>
              <a:defRPr sz="945"/>
            </a:lvl6pPr>
            <a:lvl7pPr marL="2591531" indent="0">
              <a:buNone/>
              <a:defRPr sz="945"/>
            </a:lvl7pPr>
            <a:lvl8pPr marL="3023453" indent="0">
              <a:buNone/>
              <a:defRPr sz="945"/>
            </a:lvl8pPr>
            <a:lvl9pPr marL="3455375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64106774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2143" y="1724652"/>
            <a:ext cx="9937790" cy="411215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750574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9597566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245487" y="0"/>
            <a:ext cx="2484447" cy="5836806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2153" y="0"/>
            <a:ext cx="7261308" cy="5836806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9614729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ChangeArrowheads="1"/>
          </p:cNvSpPr>
          <p:nvPr userDrawn="1"/>
        </p:nvSpPr>
        <p:spPr bwMode="auto">
          <a:xfrm rot="5400000">
            <a:off x="4140619" y="-4140619"/>
            <a:ext cx="3240838" cy="115220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38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711168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92143" y="1724652"/>
            <a:ext cx="9937790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4245425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6142" y="1615175"/>
            <a:ext cx="9937790" cy="2696448"/>
          </a:xfrm>
        </p:spPr>
        <p:txBody>
          <a:bodyPr anchor="b"/>
          <a:lstStyle>
            <a:lvl1pPr>
              <a:defRPr sz="5668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6142" y="4337115"/>
            <a:ext cx="9937790" cy="14172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68"/>
            </a:lvl1pPr>
            <a:lvl2pPr marL="431836" indent="0">
              <a:buNone/>
              <a:defRPr sz="1890"/>
            </a:lvl2pPr>
            <a:lvl3pPr marL="863671" indent="0">
              <a:buNone/>
              <a:defRPr sz="1701"/>
            </a:lvl3pPr>
            <a:lvl4pPr marL="1295507" indent="0">
              <a:buNone/>
              <a:defRPr sz="1512"/>
            </a:lvl4pPr>
            <a:lvl5pPr marL="1727341" indent="0">
              <a:buNone/>
              <a:defRPr sz="1512"/>
            </a:lvl5pPr>
            <a:lvl6pPr marL="2159178" indent="0">
              <a:buNone/>
              <a:defRPr sz="1512"/>
            </a:lvl6pPr>
            <a:lvl7pPr marL="2591012" indent="0">
              <a:buNone/>
              <a:defRPr sz="1512"/>
            </a:lvl7pPr>
            <a:lvl8pPr marL="3022848" indent="0">
              <a:buNone/>
              <a:defRPr sz="1512"/>
            </a:lvl8pPr>
            <a:lvl9pPr marL="3454684" indent="0">
              <a:buNone/>
              <a:defRPr sz="151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98527137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792142" y="1724652"/>
            <a:ext cx="4872878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57055" y="1724652"/>
            <a:ext cx="4872878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4981906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43" y="344930"/>
            <a:ext cx="9937790" cy="1252244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4157" y="1588182"/>
            <a:ext cx="4874877" cy="7783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68" b="1"/>
            </a:lvl1pPr>
            <a:lvl2pPr marL="431836" indent="0">
              <a:buNone/>
              <a:defRPr sz="1890" b="1"/>
            </a:lvl2pPr>
            <a:lvl3pPr marL="863671" indent="0">
              <a:buNone/>
              <a:defRPr sz="1701" b="1"/>
            </a:lvl3pPr>
            <a:lvl4pPr marL="1295507" indent="0">
              <a:buNone/>
              <a:defRPr sz="1512" b="1"/>
            </a:lvl4pPr>
            <a:lvl5pPr marL="1727341" indent="0">
              <a:buNone/>
              <a:defRPr sz="1512" b="1"/>
            </a:lvl5pPr>
            <a:lvl6pPr marL="2159178" indent="0">
              <a:buNone/>
              <a:defRPr sz="1512" b="1"/>
            </a:lvl6pPr>
            <a:lvl7pPr marL="2591012" indent="0">
              <a:buNone/>
              <a:defRPr sz="1512" b="1"/>
            </a:lvl7pPr>
            <a:lvl8pPr marL="3022848" indent="0">
              <a:buNone/>
              <a:defRPr sz="1512" b="1"/>
            </a:lvl8pPr>
            <a:lvl9pPr marL="3454684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94157" y="2366516"/>
            <a:ext cx="4874877" cy="34822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33050" y="1588182"/>
            <a:ext cx="4898883" cy="7783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68" b="1"/>
            </a:lvl1pPr>
            <a:lvl2pPr marL="431836" indent="0">
              <a:buNone/>
              <a:defRPr sz="1890" b="1"/>
            </a:lvl2pPr>
            <a:lvl3pPr marL="863671" indent="0">
              <a:buNone/>
              <a:defRPr sz="1701" b="1"/>
            </a:lvl3pPr>
            <a:lvl4pPr marL="1295507" indent="0">
              <a:buNone/>
              <a:defRPr sz="1512" b="1"/>
            </a:lvl4pPr>
            <a:lvl5pPr marL="1727341" indent="0">
              <a:buNone/>
              <a:defRPr sz="1512" b="1"/>
            </a:lvl5pPr>
            <a:lvl6pPr marL="2159178" indent="0">
              <a:buNone/>
              <a:defRPr sz="1512" b="1"/>
            </a:lvl6pPr>
            <a:lvl7pPr marL="2591012" indent="0">
              <a:buNone/>
              <a:defRPr sz="1512" b="1"/>
            </a:lvl7pPr>
            <a:lvl8pPr marL="3022848" indent="0">
              <a:buNone/>
              <a:defRPr sz="1512" b="1"/>
            </a:lvl8pPr>
            <a:lvl9pPr marL="3454684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33050" y="2366516"/>
            <a:ext cx="4898883" cy="34822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1168684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94951635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0170943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57" y="431912"/>
            <a:ext cx="3716669" cy="1511691"/>
          </a:xfrm>
        </p:spPr>
        <p:txBody>
          <a:bodyPr anchor="b"/>
          <a:lstStyle>
            <a:lvl1pPr>
              <a:defRPr sz="3022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98883" y="932810"/>
            <a:ext cx="5833050" cy="4605558"/>
          </a:xfrm>
          <a:prstGeom prst="rect">
            <a:avLst/>
          </a:prstGeom>
        </p:spPr>
        <p:txBody>
          <a:bodyPr/>
          <a:lstStyle>
            <a:lvl1pPr>
              <a:defRPr sz="3022"/>
            </a:lvl1pPr>
            <a:lvl2pPr>
              <a:defRPr sz="2644"/>
            </a:lvl2pPr>
            <a:lvl3pPr>
              <a:defRPr sz="2268"/>
            </a:lvl3pPr>
            <a:lvl4pPr>
              <a:defRPr sz="1890"/>
            </a:lvl4pPr>
            <a:lvl5pPr>
              <a:defRPr sz="1890"/>
            </a:lvl5pPr>
            <a:lvl6pPr>
              <a:defRPr sz="1890"/>
            </a:lvl6pPr>
            <a:lvl7pPr>
              <a:defRPr sz="1890"/>
            </a:lvl7pPr>
            <a:lvl8pPr>
              <a:defRPr sz="1890"/>
            </a:lvl8pPr>
            <a:lvl9pPr>
              <a:defRPr sz="189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4157" y="1943603"/>
            <a:ext cx="3716669" cy="3602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12"/>
            </a:lvl1pPr>
            <a:lvl2pPr marL="431836" indent="0">
              <a:buNone/>
              <a:defRPr sz="1323"/>
            </a:lvl2pPr>
            <a:lvl3pPr marL="863671" indent="0">
              <a:buNone/>
              <a:defRPr sz="1134"/>
            </a:lvl3pPr>
            <a:lvl4pPr marL="1295507" indent="0">
              <a:buNone/>
              <a:defRPr sz="945"/>
            </a:lvl4pPr>
            <a:lvl5pPr marL="1727341" indent="0">
              <a:buNone/>
              <a:defRPr sz="945"/>
            </a:lvl5pPr>
            <a:lvl6pPr marL="2159178" indent="0">
              <a:buNone/>
              <a:defRPr sz="945"/>
            </a:lvl6pPr>
            <a:lvl7pPr marL="2591012" indent="0">
              <a:buNone/>
              <a:defRPr sz="945"/>
            </a:lvl7pPr>
            <a:lvl8pPr marL="3022848" indent="0">
              <a:buNone/>
              <a:defRPr sz="945"/>
            </a:lvl8pPr>
            <a:lvl9pPr marL="3454684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91668748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57" y="431912"/>
            <a:ext cx="3716669" cy="1511691"/>
          </a:xfrm>
        </p:spPr>
        <p:txBody>
          <a:bodyPr anchor="b"/>
          <a:lstStyle>
            <a:lvl1pPr>
              <a:defRPr sz="3022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898883" y="932810"/>
            <a:ext cx="5833050" cy="46055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22"/>
            </a:lvl1pPr>
            <a:lvl2pPr marL="431836" indent="0">
              <a:buNone/>
              <a:defRPr sz="2644"/>
            </a:lvl2pPr>
            <a:lvl3pPr marL="863671" indent="0">
              <a:buNone/>
              <a:defRPr sz="2268"/>
            </a:lvl3pPr>
            <a:lvl4pPr marL="1295507" indent="0">
              <a:buNone/>
              <a:defRPr sz="1890"/>
            </a:lvl4pPr>
            <a:lvl5pPr marL="1727341" indent="0">
              <a:buNone/>
              <a:defRPr sz="1890"/>
            </a:lvl5pPr>
            <a:lvl6pPr marL="2159178" indent="0">
              <a:buNone/>
              <a:defRPr sz="1890"/>
            </a:lvl6pPr>
            <a:lvl7pPr marL="2591012" indent="0">
              <a:buNone/>
              <a:defRPr sz="1890"/>
            </a:lvl7pPr>
            <a:lvl8pPr marL="3022848" indent="0">
              <a:buNone/>
              <a:defRPr sz="1890"/>
            </a:lvl8pPr>
            <a:lvl9pPr marL="3454684" indent="0">
              <a:buNone/>
              <a:defRPr sz="189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4157" y="1943603"/>
            <a:ext cx="3716669" cy="3602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12"/>
            </a:lvl1pPr>
            <a:lvl2pPr marL="431836" indent="0">
              <a:buNone/>
              <a:defRPr sz="1323"/>
            </a:lvl2pPr>
            <a:lvl3pPr marL="863671" indent="0">
              <a:buNone/>
              <a:defRPr sz="1134"/>
            </a:lvl3pPr>
            <a:lvl4pPr marL="1295507" indent="0">
              <a:buNone/>
              <a:defRPr sz="945"/>
            </a:lvl4pPr>
            <a:lvl5pPr marL="1727341" indent="0">
              <a:buNone/>
              <a:defRPr sz="945"/>
            </a:lvl5pPr>
            <a:lvl6pPr marL="2159178" indent="0">
              <a:buNone/>
              <a:defRPr sz="945"/>
            </a:lvl6pPr>
            <a:lvl7pPr marL="2591012" indent="0">
              <a:buNone/>
              <a:defRPr sz="945"/>
            </a:lvl7pPr>
            <a:lvl8pPr marL="3022848" indent="0">
              <a:buNone/>
              <a:defRPr sz="945"/>
            </a:lvl8pPr>
            <a:lvl9pPr marL="3454684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99218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6498200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2143" y="1724652"/>
            <a:ext cx="9937790" cy="411215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1174549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245487" y="0"/>
            <a:ext cx="2484447" cy="5836806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2156" y="0"/>
            <a:ext cx="7261308" cy="5836806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529613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431800"/>
            <a:ext cx="3716338" cy="151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99025" y="933450"/>
            <a:ext cx="5832475" cy="460533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750" y="1944688"/>
            <a:ext cx="3716338" cy="360045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229736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431800"/>
            <a:ext cx="3716338" cy="151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899025" y="933450"/>
            <a:ext cx="5832475" cy="46053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750" y="1944688"/>
            <a:ext cx="3716338" cy="360045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3800578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vmlDrawing" Target="../drawings/vmlDrawing1.v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theme" Target="../theme/theme4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40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48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tags" Target="../tags/tag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vmlDrawing" Target="../drawings/vmlDrawing2.v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theme" Target="../theme/theme5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51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59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tags" Target="../tags/tag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vmlDrawing" Target="../drawings/vmlDrawing3.vml"/><Relationship Id="rId18" Type="http://schemas.openxmlformats.org/officeDocument/2006/relationships/oleObject" Target="../embeddings/oleObject4.bin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theme" Target="../theme/theme6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62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tags" Target="../tags/tag6.xml"/><Relationship Id="rId10" Type="http://schemas.openxmlformats.org/officeDocument/2006/relationships/slideLayout" Target="../slideLayouts/slideLayout7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1463" y="1606550"/>
            <a:ext cx="10934700" cy="299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1027" name="Rectangle 13"/>
          <p:cNvSpPr>
            <a:spLocks noGrp="1" noChangeArrowheads="1"/>
          </p:cNvSpPr>
          <p:nvPr>
            <p:ph type="title"/>
          </p:nvPr>
        </p:nvSpPr>
        <p:spPr bwMode="auto">
          <a:xfrm>
            <a:off x="2312988" y="107950"/>
            <a:ext cx="8893175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8" name="Picture 16" descr="Layer 2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288" y="152400"/>
            <a:ext cx="1550987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6791" r:id="rId1"/>
    <p:sldLayoutId id="2147486792" r:id="rId2"/>
    <p:sldLayoutId id="2147486793" r:id="rId3"/>
    <p:sldLayoutId id="2147486794" r:id="rId4"/>
    <p:sldLayoutId id="2147486795" r:id="rId5"/>
    <p:sldLayoutId id="2147486796" r:id="rId6"/>
    <p:sldLayoutId id="2147486797" r:id="rId7"/>
    <p:sldLayoutId id="2147486798" r:id="rId8"/>
    <p:sldLayoutId id="2147486799" r:id="rId9"/>
    <p:sldLayoutId id="2147486800" r:id="rId10"/>
    <p:sldLayoutId id="2147486801" r:id="rId11"/>
    <p:sldLayoutId id="2147486802" r:id="rId1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9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7338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1144588" indent="-230188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1463" y="1606550"/>
            <a:ext cx="10934700" cy="299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2051" name="Rectangle 13"/>
          <p:cNvSpPr>
            <a:spLocks noGrp="1" noChangeArrowheads="1"/>
          </p:cNvSpPr>
          <p:nvPr>
            <p:ph type="title"/>
          </p:nvPr>
        </p:nvSpPr>
        <p:spPr bwMode="auto">
          <a:xfrm>
            <a:off x="2312988" y="107950"/>
            <a:ext cx="8893175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2052" name="Picture 16" descr="Layer 2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288" y="152400"/>
            <a:ext cx="1550987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3" name="Picture 16" descr="Layer 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288" y="152400"/>
            <a:ext cx="1550987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>
            <a:spLocks noChangeArrowheads="1"/>
          </p:cNvSpPr>
          <p:nvPr userDrawn="1"/>
        </p:nvSpPr>
        <p:spPr bwMode="auto">
          <a:xfrm>
            <a:off x="9255125" y="0"/>
            <a:ext cx="2266950" cy="1735138"/>
          </a:xfrm>
          <a:prstGeom prst="rect">
            <a:avLst/>
          </a:prstGeom>
          <a:solidFill>
            <a:srgbClr val="CCFFFF"/>
          </a:solidFill>
          <a:ln>
            <a:noFill/>
          </a:ln>
          <a:effectLst/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50000"/>
              </a:lnSpc>
              <a:defRPr/>
            </a:pPr>
            <a:endParaRPr lang="en-US" altLang="ru-RU" sz="2400" b="0">
              <a:latin typeface="Times New Roman" pitchFamily="18" charset="0"/>
            </a:endParaRPr>
          </a:p>
          <a:p>
            <a:pPr algn="ctr" eaLnBrk="1" hangingPunct="1">
              <a:lnSpc>
                <a:spcPct val="150000"/>
              </a:lnSpc>
              <a:defRPr/>
            </a:pPr>
            <a:endParaRPr lang="en-US" altLang="ru-RU" sz="2400" b="0">
              <a:latin typeface="Times New Roman" pitchFamily="18" charset="0"/>
            </a:endParaRPr>
          </a:p>
          <a:p>
            <a:pPr algn="ctr" eaLnBrk="1" hangingPunct="1">
              <a:lnSpc>
                <a:spcPct val="150000"/>
              </a:lnSpc>
              <a:defRPr/>
            </a:pPr>
            <a:endParaRPr lang="ru-RU" altLang="ru-RU" sz="2400" b="0">
              <a:latin typeface="Times New Roman" pitchFamily="18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803" r:id="rId1"/>
    <p:sldLayoutId id="2147486804" r:id="rId2"/>
    <p:sldLayoutId id="2147486805" r:id="rId3"/>
    <p:sldLayoutId id="2147486806" r:id="rId4"/>
    <p:sldLayoutId id="2147486807" r:id="rId5"/>
    <p:sldLayoutId id="2147486808" r:id="rId6"/>
    <p:sldLayoutId id="2147486809" r:id="rId7"/>
    <p:sldLayoutId id="2147486810" r:id="rId8"/>
    <p:sldLayoutId id="2147486811" r:id="rId9"/>
    <p:sldLayoutId id="2147486812" r:id="rId10"/>
    <p:sldLayoutId id="2147486813" r:id="rId11"/>
    <p:sldLayoutId id="2147486814" r:id="rId12"/>
    <p:sldLayoutId id="2147486815" r:id="rId1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9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7338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1144588" indent="-230188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1463" y="1606550"/>
            <a:ext cx="10934700" cy="299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2051" name="Rectangle 13"/>
          <p:cNvSpPr>
            <a:spLocks noGrp="1" noChangeArrowheads="1"/>
          </p:cNvSpPr>
          <p:nvPr>
            <p:ph type="title"/>
          </p:nvPr>
        </p:nvSpPr>
        <p:spPr bwMode="auto">
          <a:xfrm>
            <a:off x="2312988" y="107950"/>
            <a:ext cx="8893175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2052" name="Picture 16" descr="Layer 2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288" y="152400"/>
            <a:ext cx="1550987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3" name="Picture 16" descr="Layer 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288" y="152400"/>
            <a:ext cx="1550987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>
            <a:spLocks noChangeArrowheads="1"/>
          </p:cNvSpPr>
          <p:nvPr userDrawn="1"/>
        </p:nvSpPr>
        <p:spPr bwMode="auto">
          <a:xfrm>
            <a:off x="9255125" y="0"/>
            <a:ext cx="2266950" cy="1735138"/>
          </a:xfrm>
          <a:prstGeom prst="rect">
            <a:avLst/>
          </a:prstGeom>
          <a:solidFill>
            <a:srgbClr val="CCFFFF"/>
          </a:solidFill>
          <a:ln>
            <a:noFill/>
          </a:ln>
          <a:effectLst/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ru-RU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ru-RU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03534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17" r:id="rId1"/>
    <p:sldLayoutId id="2147486818" r:id="rId2"/>
    <p:sldLayoutId id="2147486819" r:id="rId3"/>
    <p:sldLayoutId id="2147486820" r:id="rId4"/>
    <p:sldLayoutId id="2147486821" r:id="rId5"/>
    <p:sldLayoutId id="2147486822" r:id="rId6"/>
    <p:sldLayoutId id="2147486823" r:id="rId7"/>
    <p:sldLayoutId id="2147486824" r:id="rId8"/>
    <p:sldLayoutId id="2147486825" r:id="rId9"/>
    <p:sldLayoutId id="2147486826" r:id="rId10"/>
    <p:sldLayoutId id="2147486827" r:id="rId11"/>
    <p:sldLayoutId id="2147486828" r:id="rId12"/>
    <p:sldLayoutId id="2147486829" r:id="rId1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9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7338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1144588" indent="-230188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0"/>
          <p:cNvSpPr>
            <a:spLocks noChangeArrowheads="1"/>
          </p:cNvSpPr>
          <p:nvPr userDrawn="1"/>
        </p:nvSpPr>
        <p:spPr bwMode="auto">
          <a:xfrm>
            <a:off x="1" y="3528088"/>
            <a:ext cx="171769" cy="35102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5022" tIns="44211" rIns="85022" bIns="44211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40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sp>
        <p:nvSpPr>
          <p:cNvPr id="1843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312418" y="111006"/>
            <a:ext cx="7267309" cy="831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88420" name="Text Box 4"/>
          <p:cNvSpPr txBox="1">
            <a:spLocks noChangeArrowheads="1"/>
          </p:cNvSpPr>
          <p:nvPr userDrawn="1"/>
        </p:nvSpPr>
        <p:spPr bwMode="auto">
          <a:xfrm>
            <a:off x="10297857" y="5961163"/>
            <a:ext cx="868156" cy="348300"/>
          </a:xfrm>
          <a:prstGeom prst="rect">
            <a:avLst/>
          </a:prstGeom>
          <a:noFill/>
          <a:ln w="44450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864017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1D225A9-8F30-46A3-9660-45B4E62F5D71}" type="slidenum">
              <a:rPr kumimoji="0" lang="ru-RU" altLang="ru-RU" sz="1512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charset="0"/>
              </a:rPr>
              <a:pPr marL="0" marR="0" lvl="0" indent="0" algn="r" defTabSz="864017" rtl="0" eaLnBrk="0" fontAlgn="base" latinLnBrk="0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512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sp>
        <p:nvSpPr>
          <p:cNvPr id="1031" name="Rectangle 36"/>
          <p:cNvSpPr>
            <a:spLocks noChangeArrowheads="1"/>
          </p:cNvSpPr>
          <p:nvPr userDrawn="1"/>
        </p:nvSpPr>
        <p:spPr bwMode="auto">
          <a:xfrm>
            <a:off x="1" y="3526590"/>
            <a:ext cx="171769" cy="3510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5022" tIns="44211" rIns="85022" bIns="44211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40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graphicFrame>
        <p:nvGraphicFramePr>
          <p:cNvPr id="18438" name="Object 39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2003" y="1503"/>
          <a:ext cx="20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18438" name="Object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3" y="1503"/>
                        <a:ext cx="2000" cy="1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439" name="Object 40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2003" y="1503"/>
          <a:ext cx="20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1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18439" name="Object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3" y="1503"/>
                        <a:ext cx="2000" cy="1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440" name="Picture 11" descr="Layer 2"/>
          <p:cNvPicPr>
            <a:picLocks noChangeAspect="1" noChangeArrowheads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046" y="109503"/>
            <a:ext cx="1618291" cy="9540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25039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31" r:id="rId1"/>
    <p:sldLayoutId id="2147486832" r:id="rId2"/>
    <p:sldLayoutId id="2147486833" r:id="rId3"/>
    <p:sldLayoutId id="2147486834" r:id="rId4"/>
    <p:sldLayoutId id="2147486835" r:id="rId5"/>
    <p:sldLayoutId id="2147486836" r:id="rId6"/>
    <p:sldLayoutId id="2147486837" r:id="rId7"/>
    <p:sldLayoutId id="2147486838" r:id="rId8"/>
    <p:sldLayoutId id="2147486839" r:id="rId9"/>
    <p:sldLayoutId id="2147486840" r:id="rId10"/>
    <p:sldLayoutId id="2147486841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1890" b="1" kern="12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5pPr>
      <a:lvl6pPr marL="431922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6pPr>
      <a:lvl7pPr marL="863844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7pPr>
      <a:lvl8pPr marL="1295766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8pPr>
      <a:lvl9pPr marL="1727687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9pPr>
    </p:titleStyle>
    <p:bodyStyle>
      <a:lvl1pPr marL="322507" indent="-322507" algn="l" rtl="0" eaLnBrk="0" fontAlgn="base" hangingPunct="0">
        <a:spcBef>
          <a:spcPct val="20000"/>
        </a:spcBef>
        <a:spcAft>
          <a:spcPct val="0"/>
        </a:spcAft>
        <a:buChar char="•"/>
        <a:defRPr sz="1512" kern="1200">
          <a:solidFill>
            <a:schemeClr val="tx1"/>
          </a:solidFill>
          <a:latin typeface="+mn-lt"/>
          <a:ea typeface="+mn-ea"/>
          <a:cs typeface="+mn-cs"/>
        </a:defRPr>
      </a:lvl1pPr>
      <a:lvl2pPr marL="700514" indent="-268506" algn="l" rtl="0" eaLnBrk="0" fontAlgn="base" hangingPunct="0">
        <a:spcBef>
          <a:spcPct val="20000"/>
        </a:spcBef>
        <a:spcAft>
          <a:spcPct val="0"/>
        </a:spcAft>
        <a:buChar char="–"/>
        <a:defRPr sz="1512" kern="1200">
          <a:solidFill>
            <a:schemeClr val="tx1"/>
          </a:solidFill>
          <a:latin typeface="+mn-lt"/>
          <a:ea typeface="+mn-ea"/>
          <a:cs typeface="+mn-cs"/>
        </a:defRPr>
      </a:lvl2pPr>
      <a:lvl3pPr marL="1078521" indent="-214505" algn="l" rtl="0" eaLnBrk="0" fontAlgn="base" hangingPunct="0">
        <a:spcBef>
          <a:spcPct val="20000"/>
        </a:spcBef>
        <a:spcAft>
          <a:spcPct val="0"/>
        </a:spcAft>
        <a:buChar char="•"/>
        <a:defRPr sz="1512" kern="1200">
          <a:solidFill>
            <a:schemeClr val="tx1"/>
          </a:solidFill>
          <a:latin typeface="+mn-lt"/>
          <a:ea typeface="+mn-ea"/>
          <a:cs typeface="+mn-cs"/>
        </a:defRPr>
      </a:lvl3pPr>
      <a:lvl4pPr marL="1510529" indent="-214505" algn="l" rtl="0" eaLnBrk="0" fontAlgn="base" hangingPunct="0">
        <a:spcBef>
          <a:spcPct val="20000"/>
        </a:spcBef>
        <a:spcAft>
          <a:spcPct val="0"/>
        </a:spcAft>
        <a:buChar char="–"/>
        <a:defRPr sz="1512" kern="1200">
          <a:solidFill>
            <a:schemeClr val="tx1"/>
          </a:solidFill>
          <a:latin typeface="+mn-lt"/>
          <a:ea typeface="+mn-ea"/>
          <a:cs typeface="+mn-cs"/>
        </a:defRPr>
      </a:lvl4pPr>
      <a:lvl5pPr marL="1942538" indent="-214505" algn="l" rtl="0" eaLnBrk="0" fontAlgn="base" hangingPunct="0">
        <a:spcBef>
          <a:spcPct val="20000"/>
        </a:spcBef>
        <a:spcAft>
          <a:spcPct val="0"/>
        </a:spcAft>
        <a:buChar char="»"/>
        <a:defRPr sz="1512" kern="1200">
          <a:solidFill>
            <a:schemeClr val="tx1"/>
          </a:solidFill>
          <a:latin typeface="+mn-lt"/>
          <a:ea typeface="+mn-ea"/>
          <a:cs typeface="+mn-cs"/>
        </a:defRPr>
      </a:lvl5pPr>
      <a:lvl6pPr marL="2375570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7493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39414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1336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1922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3844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5766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7687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59610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1531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3453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5375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0"/>
          <p:cNvSpPr>
            <a:spLocks noChangeArrowheads="1"/>
          </p:cNvSpPr>
          <p:nvPr userDrawn="1"/>
        </p:nvSpPr>
        <p:spPr bwMode="auto">
          <a:xfrm>
            <a:off x="1" y="3528088"/>
            <a:ext cx="171769" cy="35102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5022" tIns="44211" rIns="85022" bIns="44211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40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sp>
        <p:nvSpPr>
          <p:cNvPr id="1843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312418" y="111006"/>
            <a:ext cx="7267309" cy="831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88420" name="Text Box 4"/>
          <p:cNvSpPr txBox="1">
            <a:spLocks noChangeArrowheads="1"/>
          </p:cNvSpPr>
          <p:nvPr userDrawn="1"/>
        </p:nvSpPr>
        <p:spPr bwMode="auto">
          <a:xfrm>
            <a:off x="10297857" y="5961163"/>
            <a:ext cx="868156" cy="348300"/>
          </a:xfrm>
          <a:prstGeom prst="rect">
            <a:avLst/>
          </a:prstGeom>
          <a:noFill/>
          <a:ln w="44450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864017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1D225A9-8F30-46A3-9660-45B4E62F5D71}" type="slidenum">
              <a:rPr kumimoji="0" lang="ru-RU" altLang="ru-RU" sz="1512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charset="0"/>
              </a:rPr>
              <a:pPr marL="0" marR="0" lvl="0" indent="0" algn="r" defTabSz="864017" rtl="0" eaLnBrk="0" fontAlgn="base" latinLnBrk="0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512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sp>
        <p:nvSpPr>
          <p:cNvPr id="1031" name="Rectangle 36"/>
          <p:cNvSpPr>
            <a:spLocks noChangeArrowheads="1"/>
          </p:cNvSpPr>
          <p:nvPr userDrawn="1"/>
        </p:nvSpPr>
        <p:spPr bwMode="auto">
          <a:xfrm>
            <a:off x="1" y="3526590"/>
            <a:ext cx="171769" cy="3510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5022" tIns="44211" rIns="85022" bIns="44211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40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graphicFrame>
        <p:nvGraphicFramePr>
          <p:cNvPr id="18438" name="Object 39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2003" y="1503"/>
          <a:ext cx="20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18438" name="Object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3" y="1503"/>
                        <a:ext cx="2000" cy="1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439" name="Object 40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2003" y="1503"/>
          <a:ext cx="20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5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18439" name="Object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3" y="1503"/>
                        <a:ext cx="2000" cy="1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440" name="Picture 11" descr="Layer 2"/>
          <p:cNvPicPr>
            <a:picLocks noChangeAspect="1" noChangeArrowheads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046" y="109503"/>
            <a:ext cx="1618291" cy="9540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537093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43" r:id="rId1"/>
    <p:sldLayoutId id="2147486844" r:id="rId2"/>
    <p:sldLayoutId id="2147486845" r:id="rId3"/>
    <p:sldLayoutId id="2147486846" r:id="rId4"/>
    <p:sldLayoutId id="2147486847" r:id="rId5"/>
    <p:sldLayoutId id="2147486848" r:id="rId6"/>
    <p:sldLayoutId id="2147486849" r:id="rId7"/>
    <p:sldLayoutId id="2147486850" r:id="rId8"/>
    <p:sldLayoutId id="2147486851" r:id="rId9"/>
    <p:sldLayoutId id="2147486852" r:id="rId10"/>
    <p:sldLayoutId id="2147486853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1890" b="1" kern="12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5pPr>
      <a:lvl6pPr marL="431922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6pPr>
      <a:lvl7pPr marL="863844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7pPr>
      <a:lvl8pPr marL="1295766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8pPr>
      <a:lvl9pPr marL="1727687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9pPr>
    </p:titleStyle>
    <p:bodyStyle>
      <a:lvl1pPr marL="322507" indent="-322507" algn="l" rtl="0" eaLnBrk="0" fontAlgn="base" hangingPunct="0">
        <a:spcBef>
          <a:spcPct val="20000"/>
        </a:spcBef>
        <a:spcAft>
          <a:spcPct val="0"/>
        </a:spcAft>
        <a:buChar char="•"/>
        <a:defRPr sz="1512" kern="1200">
          <a:solidFill>
            <a:schemeClr val="tx1"/>
          </a:solidFill>
          <a:latin typeface="+mn-lt"/>
          <a:ea typeface="+mn-ea"/>
          <a:cs typeface="+mn-cs"/>
        </a:defRPr>
      </a:lvl1pPr>
      <a:lvl2pPr marL="700514" indent="-268506" algn="l" rtl="0" eaLnBrk="0" fontAlgn="base" hangingPunct="0">
        <a:spcBef>
          <a:spcPct val="20000"/>
        </a:spcBef>
        <a:spcAft>
          <a:spcPct val="0"/>
        </a:spcAft>
        <a:buChar char="–"/>
        <a:defRPr sz="1512" kern="1200">
          <a:solidFill>
            <a:schemeClr val="tx1"/>
          </a:solidFill>
          <a:latin typeface="+mn-lt"/>
          <a:ea typeface="+mn-ea"/>
          <a:cs typeface="+mn-cs"/>
        </a:defRPr>
      </a:lvl2pPr>
      <a:lvl3pPr marL="1078521" indent="-214505" algn="l" rtl="0" eaLnBrk="0" fontAlgn="base" hangingPunct="0">
        <a:spcBef>
          <a:spcPct val="20000"/>
        </a:spcBef>
        <a:spcAft>
          <a:spcPct val="0"/>
        </a:spcAft>
        <a:buChar char="•"/>
        <a:defRPr sz="1512" kern="1200">
          <a:solidFill>
            <a:schemeClr val="tx1"/>
          </a:solidFill>
          <a:latin typeface="+mn-lt"/>
          <a:ea typeface="+mn-ea"/>
          <a:cs typeface="+mn-cs"/>
        </a:defRPr>
      </a:lvl3pPr>
      <a:lvl4pPr marL="1510529" indent="-214505" algn="l" rtl="0" eaLnBrk="0" fontAlgn="base" hangingPunct="0">
        <a:spcBef>
          <a:spcPct val="20000"/>
        </a:spcBef>
        <a:spcAft>
          <a:spcPct val="0"/>
        </a:spcAft>
        <a:buChar char="–"/>
        <a:defRPr sz="1512" kern="1200">
          <a:solidFill>
            <a:schemeClr val="tx1"/>
          </a:solidFill>
          <a:latin typeface="+mn-lt"/>
          <a:ea typeface="+mn-ea"/>
          <a:cs typeface="+mn-cs"/>
        </a:defRPr>
      </a:lvl4pPr>
      <a:lvl5pPr marL="1942538" indent="-214505" algn="l" rtl="0" eaLnBrk="0" fontAlgn="base" hangingPunct="0">
        <a:spcBef>
          <a:spcPct val="20000"/>
        </a:spcBef>
        <a:spcAft>
          <a:spcPct val="0"/>
        </a:spcAft>
        <a:buChar char="»"/>
        <a:defRPr sz="1512" kern="1200">
          <a:solidFill>
            <a:schemeClr val="tx1"/>
          </a:solidFill>
          <a:latin typeface="+mn-lt"/>
          <a:ea typeface="+mn-ea"/>
          <a:cs typeface="+mn-cs"/>
        </a:defRPr>
      </a:lvl5pPr>
      <a:lvl6pPr marL="2375570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7493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39414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1336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1922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3844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5766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7687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59610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1531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3453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5375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0"/>
          <p:cNvSpPr>
            <a:spLocks noChangeArrowheads="1"/>
          </p:cNvSpPr>
          <p:nvPr userDrawn="1"/>
        </p:nvSpPr>
        <p:spPr bwMode="auto">
          <a:xfrm>
            <a:off x="5" y="3528744"/>
            <a:ext cx="171729" cy="35100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5002" tIns="44201" rIns="85002" bIns="44201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38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312418" y="110982"/>
            <a:ext cx="7267309" cy="830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88420" name="Text Box 4"/>
          <p:cNvSpPr txBox="1">
            <a:spLocks noChangeArrowheads="1"/>
          </p:cNvSpPr>
          <p:nvPr userDrawn="1"/>
        </p:nvSpPr>
        <p:spPr bwMode="auto">
          <a:xfrm>
            <a:off x="10297860" y="5961284"/>
            <a:ext cx="868156" cy="348300"/>
          </a:xfrm>
          <a:prstGeom prst="rect">
            <a:avLst/>
          </a:prstGeom>
          <a:noFill/>
          <a:ln w="44450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863844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5647A1D-7CAD-4C0D-BF60-D7508C1EC10C}" type="slidenum">
              <a:rPr kumimoji="0" lang="ru-RU" altLang="ru-RU" sz="1512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charset="0"/>
              </a:rPr>
              <a:pPr marL="0" marR="0" lvl="0" indent="0" algn="r" defTabSz="863844" rtl="0" eaLnBrk="0" fontAlgn="base" latinLnBrk="0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512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sp>
        <p:nvSpPr>
          <p:cNvPr id="1031" name="Rectangle 36"/>
          <p:cNvSpPr>
            <a:spLocks noChangeArrowheads="1"/>
          </p:cNvSpPr>
          <p:nvPr userDrawn="1"/>
        </p:nvSpPr>
        <p:spPr bwMode="auto">
          <a:xfrm>
            <a:off x="5" y="3527242"/>
            <a:ext cx="171729" cy="3510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5002" tIns="44201" rIns="85002" bIns="44201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38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graphicFrame>
        <p:nvGraphicFramePr>
          <p:cNvPr id="1030" name="Object 39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2005" y="1504"/>
          <a:ext cx="20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8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1030" name="Object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5" y="1504"/>
                        <a:ext cx="2000" cy="1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ct 40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2005" y="1504"/>
          <a:ext cx="20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9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2" name="Object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5" y="1504"/>
                        <a:ext cx="2000" cy="1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32" name="Picture 11" descr="Layer 2"/>
          <p:cNvPicPr>
            <a:picLocks noChangeAspect="1" noChangeArrowheads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050" y="109478"/>
            <a:ext cx="1618291" cy="9538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91270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55" r:id="rId1"/>
    <p:sldLayoutId id="2147486856" r:id="rId2"/>
    <p:sldLayoutId id="2147486857" r:id="rId3"/>
    <p:sldLayoutId id="2147486858" r:id="rId4"/>
    <p:sldLayoutId id="2147486859" r:id="rId5"/>
    <p:sldLayoutId id="2147486860" r:id="rId6"/>
    <p:sldLayoutId id="2147486861" r:id="rId7"/>
    <p:sldLayoutId id="2147486862" r:id="rId8"/>
    <p:sldLayoutId id="2147486863" r:id="rId9"/>
    <p:sldLayoutId id="2147486864" r:id="rId10"/>
    <p:sldLayoutId id="2147486865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1890" b="1" kern="12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5pPr>
      <a:lvl6pPr marL="431836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6pPr>
      <a:lvl7pPr marL="863671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7pPr>
      <a:lvl8pPr marL="1295507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8pPr>
      <a:lvl9pPr marL="1727341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9pPr>
    </p:titleStyle>
    <p:bodyStyle>
      <a:lvl1pPr marL="323876" indent="-323876" algn="l" rtl="0" eaLnBrk="0" fontAlgn="base" hangingPunct="0">
        <a:spcBef>
          <a:spcPct val="20000"/>
        </a:spcBef>
        <a:spcAft>
          <a:spcPct val="0"/>
        </a:spcAft>
        <a:buChar char="•"/>
        <a:defRPr sz="1512" kern="1200">
          <a:solidFill>
            <a:schemeClr val="tx1"/>
          </a:solidFill>
          <a:latin typeface="+mn-lt"/>
          <a:ea typeface="+mn-ea"/>
          <a:cs typeface="+mn-cs"/>
        </a:defRPr>
      </a:lvl1pPr>
      <a:lvl2pPr marL="701732" indent="-269897" algn="l" rtl="0" eaLnBrk="0" fontAlgn="base" hangingPunct="0">
        <a:spcBef>
          <a:spcPct val="20000"/>
        </a:spcBef>
        <a:spcAft>
          <a:spcPct val="0"/>
        </a:spcAft>
        <a:buChar char="–"/>
        <a:defRPr sz="1512" kern="1200">
          <a:solidFill>
            <a:schemeClr val="tx1"/>
          </a:solidFill>
          <a:latin typeface="+mn-lt"/>
          <a:ea typeface="+mn-ea"/>
          <a:cs typeface="+mn-cs"/>
        </a:defRPr>
      </a:lvl2pPr>
      <a:lvl3pPr marL="1079588" indent="-215917" algn="l" rtl="0" eaLnBrk="0" fontAlgn="base" hangingPunct="0">
        <a:spcBef>
          <a:spcPct val="20000"/>
        </a:spcBef>
        <a:spcAft>
          <a:spcPct val="0"/>
        </a:spcAft>
        <a:buChar char="•"/>
        <a:defRPr sz="1512" kern="1200">
          <a:solidFill>
            <a:schemeClr val="tx1"/>
          </a:solidFill>
          <a:latin typeface="+mn-lt"/>
          <a:ea typeface="+mn-ea"/>
          <a:cs typeface="+mn-cs"/>
        </a:defRPr>
      </a:lvl3pPr>
      <a:lvl4pPr marL="1511424" indent="-215917" algn="l" rtl="0" eaLnBrk="0" fontAlgn="base" hangingPunct="0">
        <a:spcBef>
          <a:spcPct val="20000"/>
        </a:spcBef>
        <a:spcAft>
          <a:spcPct val="0"/>
        </a:spcAft>
        <a:buChar char="–"/>
        <a:defRPr sz="1512" kern="1200">
          <a:solidFill>
            <a:schemeClr val="tx1"/>
          </a:solidFill>
          <a:latin typeface="+mn-lt"/>
          <a:ea typeface="+mn-ea"/>
          <a:cs typeface="+mn-cs"/>
        </a:defRPr>
      </a:lvl4pPr>
      <a:lvl5pPr marL="1943261" indent="-215917" algn="l" rtl="0" eaLnBrk="0" fontAlgn="base" hangingPunct="0">
        <a:spcBef>
          <a:spcPct val="20000"/>
        </a:spcBef>
        <a:spcAft>
          <a:spcPct val="0"/>
        </a:spcAft>
        <a:buChar char="»"/>
        <a:defRPr sz="1512" kern="1200">
          <a:solidFill>
            <a:schemeClr val="tx1"/>
          </a:solidFill>
          <a:latin typeface="+mn-lt"/>
          <a:ea typeface="+mn-ea"/>
          <a:cs typeface="+mn-cs"/>
        </a:defRPr>
      </a:lvl5pPr>
      <a:lvl6pPr marL="2375095" indent="-215917" algn="l" defTabSz="863671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6931" indent="-215917" algn="l" defTabSz="863671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38766" indent="-215917" algn="l" defTabSz="863671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0602" indent="-215917" algn="l" defTabSz="863671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1836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3671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5507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7341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59178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1012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2848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4684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3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1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13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0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hyperlink" Target="https://v8.1c.ru/cpm/poleznye-materialy/video/" TargetMode="External"/><Relationship Id="rId3" Type="http://schemas.openxmlformats.org/officeDocument/2006/relationships/hyperlink" Target="https://v8.1c.ru/cpm-erp/" TargetMode="External"/><Relationship Id="rId7" Type="http://schemas.openxmlformats.org/officeDocument/2006/relationships/hyperlink" Target="https://v8.1c.ru/cpm/poleznye-materialy/presentations/" TargetMode="External"/><Relationship Id="rId12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2.xml"/><Relationship Id="rId6" Type="http://schemas.openxmlformats.org/officeDocument/2006/relationships/hyperlink" Target="https://v8.1c.ru/cpm/" TargetMode="External"/><Relationship Id="rId11" Type="http://schemas.openxmlformats.org/officeDocument/2006/relationships/hyperlink" Target="https://www.youtube.com/channel/UCcqLClFBq1HOSUDEDBLygFg" TargetMode="External"/><Relationship Id="rId5" Type="http://schemas.openxmlformats.org/officeDocument/2006/relationships/hyperlink" Target="https://v8.1c.ru/cpm-erp/poleznye-materialy/video/" TargetMode="External"/><Relationship Id="rId10" Type="http://schemas.openxmlformats.org/officeDocument/2006/relationships/hyperlink" Target="https://v8.1c.ru/cpm/assets/" TargetMode="External"/><Relationship Id="rId4" Type="http://schemas.openxmlformats.org/officeDocument/2006/relationships/hyperlink" Target="https://v8.1c.ru/cpm-erp/poleznye-materialy/presentations/" TargetMode="External"/><Relationship Id="rId9" Type="http://schemas.openxmlformats.org/officeDocument/2006/relationships/hyperlink" Target="https://v8.1c.ru/cpm/istorii-uspekha/" TargetMode="Externa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8" descr="УХ_Главный слайд_белый фон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163" y="1655763"/>
            <a:ext cx="3779837" cy="414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4439666" y="2087959"/>
            <a:ext cx="6480175" cy="186615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863834">
              <a:defRPr/>
            </a:pPr>
            <a:r>
              <a:rPr lang="ru-RU" sz="3779" b="0" dirty="0" smtClean="0">
                <a:solidFill>
                  <a:srgbClr val="FC6E51"/>
                </a:solidFill>
              </a:rPr>
              <a:t>Попозиционные закупки</a:t>
            </a:r>
            <a:endParaRPr lang="ru-RU" sz="3779" b="0" dirty="0">
              <a:solidFill>
                <a:srgbClr val="FC6E51"/>
              </a:solidFill>
            </a:endParaRPr>
          </a:p>
          <a:p>
            <a:pPr algn="ctr" defTabSz="863834">
              <a:defRPr/>
            </a:pPr>
            <a:endParaRPr lang="ru-RU" sz="3779" b="0" dirty="0">
              <a:solidFill>
                <a:srgbClr val="FC6E51"/>
              </a:solidFill>
            </a:endParaRPr>
          </a:p>
          <a:p>
            <a:pPr algn="ctr" defTabSz="863834">
              <a:defRPr/>
            </a:pPr>
            <a:r>
              <a:rPr lang="ru-RU" sz="1984" b="0" dirty="0">
                <a:solidFill>
                  <a:schemeClr val="bg2">
                    <a:lumMod val="50000"/>
                  </a:schemeClr>
                </a:solidFill>
              </a:rPr>
              <a:t>1С:Управление холдингом</a:t>
            </a:r>
          </a:p>
          <a:p>
            <a:pPr algn="ctr" defTabSz="863834">
              <a:defRPr/>
            </a:pPr>
            <a:r>
              <a:rPr lang="ru-RU" sz="1984" b="0" dirty="0" smtClean="0">
                <a:solidFill>
                  <a:schemeClr val="bg2">
                    <a:lumMod val="50000"/>
                  </a:schemeClr>
                </a:solidFill>
              </a:rPr>
              <a:t>1С:</a:t>
            </a:r>
            <a:r>
              <a:rPr lang="en-US" sz="1984" b="0" dirty="0">
                <a:solidFill>
                  <a:schemeClr val="bg2">
                    <a:lumMod val="50000"/>
                  </a:schemeClr>
                </a:solidFill>
              </a:rPr>
              <a:t>ERP</a:t>
            </a:r>
            <a:r>
              <a:rPr lang="ru-RU" sz="1984" b="0" dirty="0">
                <a:solidFill>
                  <a:schemeClr val="bg2">
                    <a:lumMod val="50000"/>
                  </a:schemeClr>
                </a:solidFill>
              </a:rPr>
              <a:t>.Управление </a:t>
            </a:r>
            <a:r>
              <a:rPr lang="ru-RU" sz="1984" b="0" dirty="0" smtClean="0">
                <a:solidFill>
                  <a:schemeClr val="bg2">
                    <a:lumMod val="50000"/>
                  </a:schemeClr>
                </a:solidFill>
              </a:rPr>
              <a:t>холдингом</a:t>
            </a:r>
            <a:endParaRPr lang="ru-RU" sz="1984" b="0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</p:cSld>
  <p:clrMapOvr>
    <a:masterClrMapping/>
  </p:clrMapOvr>
  <p:transition spd="slow" advTm="13718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"/>
          <p:cNvSpPr>
            <a:spLocks noChangeArrowheads="1"/>
          </p:cNvSpPr>
          <p:nvPr/>
        </p:nvSpPr>
        <p:spPr bwMode="auto">
          <a:xfrm>
            <a:off x="1728589" y="0"/>
            <a:ext cx="7200800" cy="8773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89" b="0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89" b="0" i="0" u="none" strike="noStrike" kern="1200" cap="none" spc="0" normalizeH="0" baseline="0" noProof="0" dirty="0" smtClean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токол выбора</a:t>
            </a:r>
            <a:r>
              <a:rPr lang="ru-RU" sz="1889" b="0" dirty="0" smtClean="0">
                <a:solidFill>
                  <a:srgbClr val="808080">
                    <a:lumMod val="50000"/>
                  </a:srgbClr>
                </a:solidFill>
                <a:cs typeface="Arial" panose="020B0604020202020204" pitchFamily="34" charset="0"/>
              </a:rPr>
              <a:t> / Оценка по ценам</a:t>
            </a:r>
            <a:endParaRPr kumimoji="0" lang="ru-RU" sz="1889" b="0" i="0" u="none" strike="noStrike" kern="1200" cap="none" spc="0" normalizeH="0" noProof="0" dirty="0" smtClean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89" b="0" i="0" u="none" strike="noStrike" kern="1200" cap="none" spc="0" normalizeH="0" baseline="0" noProof="0" dirty="0" smtClean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037" y="791815"/>
            <a:ext cx="10800000" cy="4026724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414542" y="5084419"/>
            <a:ext cx="10746495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0" dirty="0" smtClean="0">
                <a:solidFill>
                  <a:schemeClr val="tx1"/>
                </a:solidFill>
              </a:rPr>
              <a:t>Мы видим ценовые предложения поставщиков по каждой номенклатуре. </a:t>
            </a:r>
          </a:p>
          <a:p>
            <a:endParaRPr lang="ru-RU" sz="1100" b="0" dirty="0" smtClean="0">
              <a:solidFill>
                <a:schemeClr val="tx1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100" dirty="0" smtClean="0">
                <a:solidFill>
                  <a:schemeClr val="tx1"/>
                </a:solidFill>
              </a:rPr>
              <a:t>Жирным шрифтом</a:t>
            </a:r>
            <a:r>
              <a:rPr lang="ru-RU" sz="1100" b="0" dirty="0" smtClean="0">
                <a:solidFill>
                  <a:schemeClr val="tx1"/>
                </a:solidFill>
              </a:rPr>
              <a:t> выделены предложения с минимальными ценами. Их можно быстро выбрать по кнопке «Минимальные цены».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100" b="0" dirty="0" smtClean="0">
                <a:solidFill>
                  <a:srgbClr val="FF0000"/>
                </a:solidFill>
              </a:rPr>
              <a:t>Красный цвет </a:t>
            </a:r>
            <a:r>
              <a:rPr lang="ru-RU" sz="1100" b="0" dirty="0" smtClean="0">
                <a:solidFill>
                  <a:schemeClr val="tx1"/>
                </a:solidFill>
              </a:rPr>
              <a:t>сигнализирует пользователю, что выбор еще не сделан или требуется дополнительное действие пользователя для завершения выбора.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100" b="0" dirty="0" smtClean="0">
                <a:solidFill>
                  <a:schemeClr val="tx1"/>
                </a:solidFill>
              </a:rPr>
              <a:t>Колонка «Распределена» используется в случае, когда решено выбрать двух или более победителей по одной номенклатуре. В этом случае, подсветиться и станет доступной кнопка «распределить номенклатуру по поставщикам»</a:t>
            </a:r>
            <a:endParaRPr lang="ru-RU" sz="1100" b="0" dirty="0">
              <a:solidFill>
                <a:srgbClr val="FF0000"/>
              </a:solidFill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 bwMode="auto">
          <a:xfrm>
            <a:off x="432445" y="4968279"/>
            <a:ext cx="10728592" cy="0"/>
          </a:xfrm>
          <a:prstGeom prst="line">
            <a:avLst/>
          </a:prstGeom>
          <a:ln w="38100"/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9573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"/>
          <p:cNvSpPr>
            <a:spLocks noChangeArrowheads="1"/>
          </p:cNvSpPr>
          <p:nvPr/>
        </p:nvSpPr>
        <p:spPr bwMode="auto">
          <a:xfrm>
            <a:off x="1728589" y="0"/>
            <a:ext cx="7200800" cy="8773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89" b="0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89" b="0" i="0" u="none" strike="noStrike" kern="1200" cap="none" spc="0" normalizeH="0" baseline="0" noProof="0" dirty="0" smtClean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токол выбора</a:t>
            </a:r>
            <a:r>
              <a:rPr lang="ru-RU" sz="1889" b="0" dirty="0" smtClean="0">
                <a:solidFill>
                  <a:srgbClr val="808080">
                    <a:lumMod val="50000"/>
                  </a:srgbClr>
                </a:solidFill>
                <a:cs typeface="Arial" panose="020B0604020202020204" pitchFamily="34" charset="0"/>
              </a:rPr>
              <a:t> / Оценка по ценам</a:t>
            </a:r>
            <a:endParaRPr kumimoji="0" lang="ru-RU" sz="1889" b="0" i="0" u="none" strike="noStrike" kern="1200" cap="none" spc="0" normalizeH="0" noProof="0" dirty="0" smtClean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89" b="0" i="0" u="none" strike="noStrike" kern="1200" cap="none" spc="0" normalizeH="0" baseline="0" noProof="0" dirty="0" smtClean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14542" y="5084419"/>
            <a:ext cx="10746495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0" dirty="0" smtClean="0">
                <a:solidFill>
                  <a:schemeClr val="tx1"/>
                </a:solidFill>
              </a:rPr>
              <a:t>Пользователь сделал выбор. </a:t>
            </a:r>
            <a:r>
              <a:rPr lang="ru-RU" sz="1100" b="0" dirty="0" smtClean="0">
                <a:solidFill>
                  <a:srgbClr val="FF0000"/>
                </a:solidFill>
              </a:rPr>
              <a:t>Внимание! Организации, ведущие учет по 223-ФЗ не </a:t>
            </a:r>
            <a:r>
              <a:rPr lang="ru-RU" sz="1100" b="0" dirty="0" smtClean="0">
                <a:solidFill>
                  <a:srgbClr val="FF0000"/>
                </a:solidFill>
              </a:rPr>
              <a:t>имеют </a:t>
            </a:r>
            <a:r>
              <a:rPr lang="ru-RU" sz="1100" b="0" dirty="0" smtClean="0">
                <a:solidFill>
                  <a:srgbClr val="FF0000"/>
                </a:solidFill>
              </a:rPr>
              <a:t>возможности назначить на одну позицию несколько поставщиков </a:t>
            </a:r>
          </a:p>
          <a:p>
            <a:endParaRPr lang="ru-RU" sz="1100" b="0" dirty="0" smtClean="0">
              <a:solidFill>
                <a:schemeClr val="tx1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100" b="0" dirty="0" smtClean="0">
                <a:solidFill>
                  <a:schemeClr val="tx1"/>
                </a:solidFill>
              </a:rPr>
              <a:t>Определены победители по позициям «Пшеница» и «Рожь». Выбор сделан по минимальным ценам. Флажок «Распределена» выставлен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100" b="0" dirty="0" smtClean="0">
                <a:solidFill>
                  <a:schemeClr val="tx1"/>
                </a:solidFill>
              </a:rPr>
              <a:t>По позиции «Ячмень» принято решение заключить договоры на поставку с тремя поставщиками. Флажок «Распределена» не выставлен. Процесс не завершен </a:t>
            </a:r>
            <a:r>
              <a:rPr lang="ru-RU" sz="1100" b="0" dirty="0" err="1" smtClean="0">
                <a:solidFill>
                  <a:schemeClr val="tx1"/>
                </a:solidFill>
              </a:rPr>
              <a:t>тк</a:t>
            </a:r>
            <a:r>
              <a:rPr lang="ru-RU" sz="1100" b="0" dirty="0" smtClean="0">
                <a:solidFill>
                  <a:schemeClr val="tx1"/>
                </a:solidFill>
              </a:rPr>
              <a:t> цвет шрифта красный. Для завершения выбора необходимо распределить номенклатуру по поставщикам. </a:t>
            </a:r>
            <a:r>
              <a:rPr lang="ru-RU" sz="1100" b="0" dirty="0">
                <a:solidFill>
                  <a:schemeClr val="tx1"/>
                </a:solidFill>
              </a:rPr>
              <a:t>Активна кнопка «Распределить номенклатуру по поставщикам</a:t>
            </a:r>
            <a:r>
              <a:rPr lang="ru-RU" sz="1100" b="0" dirty="0" smtClean="0">
                <a:solidFill>
                  <a:schemeClr val="tx1"/>
                </a:solidFill>
              </a:rPr>
              <a:t>». </a:t>
            </a:r>
            <a:r>
              <a:rPr lang="ru-RU" sz="1100" dirty="0" smtClean="0">
                <a:solidFill>
                  <a:schemeClr val="tx1"/>
                </a:solidFill>
              </a:rPr>
              <a:t>Нажимаем…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 bwMode="auto">
          <a:xfrm>
            <a:off x="432445" y="4968279"/>
            <a:ext cx="10728592" cy="0"/>
          </a:xfrm>
          <a:prstGeom prst="line">
            <a:avLst/>
          </a:prstGeom>
          <a:ln w="38100"/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037" y="773420"/>
            <a:ext cx="10800000" cy="3990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275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"/>
          <p:cNvSpPr>
            <a:spLocks noChangeArrowheads="1"/>
          </p:cNvSpPr>
          <p:nvPr/>
        </p:nvSpPr>
        <p:spPr bwMode="auto">
          <a:xfrm>
            <a:off x="1728589" y="0"/>
            <a:ext cx="7200800" cy="8773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89" b="0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89" b="0" i="0" u="none" strike="noStrike" kern="1200" cap="none" spc="0" normalizeH="0" baseline="0" noProof="0" dirty="0" smtClean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токол выбора</a:t>
            </a:r>
            <a:r>
              <a:rPr lang="ru-RU" sz="1889" b="0" dirty="0" smtClean="0">
                <a:solidFill>
                  <a:srgbClr val="808080">
                    <a:lumMod val="50000"/>
                  </a:srgbClr>
                </a:solidFill>
                <a:cs typeface="Arial" panose="020B0604020202020204" pitchFamily="34" charset="0"/>
              </a:rPr>
              <a:t> / Оценка по ценам / Распределение позиции</a:t>
            </a:r>
            <a:endParaRPr kumimoji="0" lang="ru-RU" sz="1889" b="0" i="0" u="none" strike="noStrike" kern="1200" cap="none" spc="0" normalizeH="0" noProof="0" dirty="0" smtClean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89" b="0" i="0" u="none" strike="noStrike" kern="1200" cap="none" spc="0" normalizeH="0" baseline="0" noProof="0" dirty="0" smtClean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1547674" y="935831"/>
            <a:ext cx="8426727" cy="3802191"/>
            <a:chOff x="720477" y="935831"/>
            <a:chExt cx="8426727" cy="3802191"/>
          </a:xfrm>
        </p:grpSpPr>
        <p:pic>
          <p:nvPicPr>
            <p:cNvPr id="2" name="Рисунок 1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545013" y="935831"/>
              <a:ext cx="3602191" cy="3783867"/>
            </a:xfrm>
            <a:prstGeom prst="rect">
              <a:avLst/>
            </a:prstGeom>
          </p:spPr>
        </p:pic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20477" y="935831"/>
              <a:ext cx="3604995" cy="3802191"/>
            </a:xfrm>
            <a:prstGeom prst="rect">
              <a:avLst/>
            </a:prstGeom>
          </p:spPr>
        </p:pic>
        <p:cxnSp>
          <p:nvCxnSpPr>
            <p:cNvPr id="6" name="Прямая соединительная линия 5"/>
            <p:cNvCxnSpPr/>
            <p:nvPr/>
          </p:nvCxnSpPr>
          <p:spPr bwMode="auto">
            <a:xfrm>
              <a:off x="4536901" y="2836926"/>
              <a:ext cx="648072" cy="0"/>
            </a:xfrm>
            <a:prstGeom prst="line">
              <a:avLst/>
            </a:prstGeom>
            <a:solidFill>
              <a:srgbClr val="00FF00">
                <a:alpha val="75000"/>
              </a:srgbClr>
            </a:solidFill>
            <a:ln w="539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arrow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  <p:sp>
        <p:nvSpPr>
          <p:cNvPr id="10" name="TextBox 9"/>
          <p:cNvSpPr txBox="1"/>
          <p:nvPr/>
        </p:nvSpPr>
        <p:spPr>
          <a:xfrm>
            <a:off x="414542" y="5084419"/>
            <a:ext cx="10746495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0" dirty="0" smtClean="0">
                <a:solidFill>
                  <a:schemeClr val="tx1"/>
                </a:solidFill>
              </a:rPr>
              <a:t>Мы видим ценовые предложения поставщиков по номенклатуре «Ячмень». Количество требуется и сумма требуется. Суммы </a:t>
            </a:r>
            <a:r>
              <a:rPr lang="ru-RU" sz="1100" b="0" dirty="0" smtClean="0">
                <a:solidFill>
                  <a:schemeClr val="tx1"/>
                </a:solidFill>
              </a:rPr>
              <a:t>можно показывать / скрывать по </a:t>
            </a:r>
            <a:r>
              <a:rPr lang="ru-RU" sz="1100" b="0" dirty="0" smtClean="0">
                <a:solidFill>
                  <a:schemeClr val="tx1"/>
                </a:solidFill>
              </a:rPr>
              <a:t>кнопке «Показывать суммы». </a:t>
            </a:r>
            <a:r>
              <a:rPr lang="ru-RU" sz="1100" b="0" dirty="0">
                <a:solidFill>
                  <a:schemeClr val="tx1"/>
                </a:solidFill>
              </a:rPr>
              <a:t>Суммы необходимы при распределении Товарной категории (не имеет количества).</a:t>
            </a:r>
          </a:p>
          <a:p>
            <a:endParaRPr lang="ru-RU" sz="1100" b="0" dirty="0" smtClean="0">
              <a:solidFill>
                <a:schemeClr val="tx1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100" b="0" dirty="0" smtClean="0">
                <a:solidFill>
                  <a:schemeClr val="tx1"/>
                </a:solidFill>
              </a:rPr>
              <a:t>В левой части форма до распределения. В верхней таблице итоги. Требуется / Выбрано / Отклонение (подсвечивается </a:t>
            </a:r>
            <a:r>
              <a:rPr lang="ru-RU" sz="1100" b="0" dirty="0" smtClean="0">
                <a:solidFill>
                  <a:srgbClr val="FF0000"/>
                </a:solidFill>
              </a:rPr>
              <a:t>красным цветом</a:t>
            </a:r>
            <a:r>
              <a:rPr lang="ru-RU" sz="1100" b="0" dirty="0" smtClean="0">
                <a:solidFill>
                  <a:schemeClr val="tx1"/>
                </a:solidFill>
              </a:rPr>
              <a:t>). В нижней таблице предложения поставщиков по периодам. </a:t>
            </a:r>
            <a:r>
              <a:rPr lang="ru-RU" sz="1100" b="0" dirty="0" smtClean="0">
                <a:solidFill>
                  <a:srgbClr val="00B050"/>
                </a:solidFill>
              </a:rPr>
              <a:t>Зеленым цветом </a:t>
            </a:r>
            <a:r>
              <a:rPr lang="ru-RU" sz="1100" b="0" dirty="0" smtClean="0">
                <a:solidFill>
                  <a:schemeClr val="tx1"/>
                </a:solidFill>
              </a:rPr>
              <a:t>подсвечены </a:t>
            </a:r>
            <a:r>
              <a:rPr lang="ru-RU" sz="1100" b="0" dirty="0" smtClean="0">
                <a:solidFill>
                  <a:schemeClr val="tx1"/>
                </a:solidFill>
              </a:rPr>
              <a:t>цифры, доступные пользователю для редактирования.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100" b="0" dirty="0" smtClean="0">
                <a:solidFill>
                  <a:schemeClr val="tx1"/>
                </a:solidFill>
              </a:rPr>
              <a:t>В правой части форма </a:t>
            </a:r>
            <a:r>
              <a:rPr lang="ru-RU" sz="1100" b="0" dirty="0" smtClean="0">
                <a:solidFill>
                  <a:schemeClr val="tx1"/>
                </a:solidFill>
              </a:rPr>
              <a:t>после </a:t>
            </a:r>
            <a:r>
              <a:rPr lang="ru-RU" sz="1100" b="0" dirty="0" smtClean="0">
                <a:solidFill>
                  <a:schemeClr val="tx1"/>
                </a:solidFill>
              </a:rPr>
              <a:t>распределения. Задача пользователя – распределить номенклатуру по периодам без отклонений по итогу и записать распределение.</a:t>
            </a:r>
            <a:endParaRPr lang="ru-RU" sz="1100" b="0" dirty="0">
              <a:solidFill>
                <a:srgbClr val="FF0000"/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 bwMode="auto">
          <a:xfrm>
            <a:off x="432445" y="4896271"/>
            <a:ext cx="10728592" cy="0"/>
          </a:xfrm>
          <a:prstGeom prst="line">
            <a:avLst/>
          </a:prstGeom>
          <a:ln w="38100"/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7682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"/>
          <p:cNvSpPr>
            <a:spLocks noChangeArrowheads="1"/>
          </p:cNvSpPr>
          <p:nvPr/>
        </p:nvSpPr>
        <p:spPr bwMode="auto">
          <a:xfrm>
            <a:off x="1728589" y="0"/>
            <a:ext cx="7200800" cy="6156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89" b="0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89" b="0" i="0" u="none" strike="noStrike" kern="1200" cap="none" spc="0" normalizeH="0" baseline="0" noProof="0" dirty="0" smtClean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токол выбора</a:t>
            </a:r>
            <a:r>
              <a:rPr lang="ru-RU" sz="1889" b="0" dirty="0" smtClean="0">
                <a:solidFill>
                  <a:srgbClr val="808080">
                    <a:lumMod val="50000"/>
                  </a:srgbClr>
                </a:solidFill>
                <a:cs typeface="Arial" panose="020B0604020202020204" pitchFamily="34" charset="0"/>
              </a:rPr>
              <a:t> / Оценка по ценам /</a:t>
            </a:r>
            <a:endParaRPr kumimoji="0" lang="ru-RU" sz="1889" b="0" i="0" u="none" strike="noStrike" kern="1200" cap="none" spc="0" normalizeH="0" baseline="0" noProof="0" dirty="0" smtClean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614" y="813380"/>
            <a:ext cx="8004709" cy="4934099"/>
          </a:xfrm>
          <a:prstGeom prst="rect">
            <a:avLst/>
          </a:prstGeom>
        </p:spPr>
      </p:pic>
      <p:grpSp>
        <p:nvGrpSpPr>
          <p:cNvPr id="4" name="Группа 3"/>
          <p:cNvGrpSpPr/>
          <p:nvPr/>
        </p:nvGrpSpPr>
        <p:grpSpPr>
          <a:xfrm>
            <a:off x="8137301" y="1340112"/>
            <a:ext cx="3096344" cy="4132223"/>
            <a:chOff x="8137301" y="885303"/>
            <a:chExt cx="3096344" cy="4132223"/>
          </a:xfrm>
        </p:grpSpPr>
        <p:sp>
          <p:nvSpPr>
            <p:cNvPr id="10" name="TextBox 9"/>
            <p:cNvSpPr txBox="1"/>
            <p:nvPr/>
          </p:nvSpPr>
          <p:spPr>
            <a:xfrm>
              <a:off x="8137301" y="885303"/>
              <a:ext cx="3096344" cy="39703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b="0" dirty="0" smtClean="0">
                  <a:solidFill>
                    <a:schemeClr val="tx1"/>
                  </a:solidFill>
                </a:rPr>
                <a:t>Протокол после оценки предложений</a:t>
              </a:r>
            </a:p>
            <a:p>
              <a:endParaRPr lang="ru-RU" sz="1200" b="0" dirty="0" smtClean="0">
                <a:solidFill>
                  <a:schemeClr val="tx1"/>
                </a:solidFill>
              </a:endParaRPr>
            </a:p>
            <a:p>
              <a:r>
                <a:rPr lang="ru-RU" sz="1200" b="0" dirty="0" smtClean="0">
                  <a:solidFill>
                    <a:schemeClr val="tx1"/>
                  </a:solidFill>
                </a:rPr>
                <a:t>Мы видим, что каждый участник по </a:t>
              </a:r>
              <a:r>
                <a:rPr lang="ru-RU" sz="1200" b="0" dirty="0" smtClean="0">
                  <a:solidFill>
                    <a:schemeClr val="tx1"/>
                  </a:solidFill>
                </a:rPr>
                <a:t>позиции лота выбран </a:t>
              </a:r>
              <a:r>
                <a:rPr lang="ru-RU" sz="1200" b="0" dirty="0" smtClean="0">
                  <a:solidFill>
                    <a:schemeClr val="tx1"/>
                  </a:solidFill>
                </a:rPr>
                <a:t>поставщиком. При трех позициях лота и четырех поставщиках возможны совершенно разные варианты поставки. Но такое справедливо только для коммерческих закупок. </a:t>
              </a:r>
            </a:p>
            <a:p>
              <a:endParaRPr lang="ru-RU" sz="1200" b="0" dirty="0">
                <a:solidFill>
                  <a:schemeClr val="tx1"/>
                </a:solidFill>
              </a:endParaRPr>
            </a:p>
            <a:p>
              <a:r>
                <a:rPr lang="ru-RU" sz="1200" b="0" dirty="0" smtClean="0">
                  <a:solidFill>
                    <a:schemeClr val="tx1"/>
                  </a:solidFill>
                </a:rPr>
                <a:t>Для организаций, ведущих учет по 223-ФЗ может быть не более трех поставщиков при трех позициях лота.</a:t>
              </a:r>
            </a:p>
            <a:p>
              <a:endParaRPr lang="ru-RU" sz="1200" b="0" dirty="0">
                <a:solidFill>
                  <a:schemeClr val="tx1"/>
                </a:solidFill>
              </a:endParaRPr>
            </a:p>
            <a:p>
              <a:r>
                <a:rPr lang="ru-RU" sz="1200" b="0" dirty="0" smtClean="0">
                  <a:solidFill>
                    <a:schemeClr val="tx1"/>
                  </a:solidFill>
                </a:rPr>
                <a:t>Нижняя табличная часть содержит спецификацию для договора поставки поставщика.</a:t>
              </a:r>
            </a:p>
            <a:p>
              <a:endParaRPr lang="ru-RU" sz="1200" b="0" dirty="0">
                <a:solidFill>
                  <a:schemeClr val="tx1"/>
                </a:solidFill>
              </a:endParaRPr>
            </a:p>
            <a:p>
              <a:r>
                <a:rPr lang="ru-RU" sz="1200" b="0" dirty="0" smtClean="0">
                  <a:solidFill>
                    <a:schemeClr val="tx1"/>
                  </a:solidFill>
                </a:rPr>
                <a:t>Детальную информацию по оценке можно посмотреть в печатной форме протокола.</a:t>
              </a:r>
              <a:endParaRPr lang="ru-RU" sz="1200" b="0" dirty="0">
                <a:solidFill>
                  <a:srgbClr val="FF0000"/>
                </a:solidFill>
              </a:endParaRPr>
            </a:p>
          </p:txBody>
        </p:sp>
        <p:pic>
          <p:nvPicPr>
            <p:cNvPr id="2" name="Рисунок 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073405" y="4693716"/>
              <a:ext cx="904762" cy="3238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22520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"/>
          <p:cNvSpPr>
            <a:spLocks noChangeArrowheads="1"/>
          </p:cNvSpPr>
          <p:nvPr/>
        </p:nvSpPr>
        <p:spPr bwMode="auto">
          <a:xfrm>
            <a:off x="1728589" y="0"/>
            <a:ext cx="7200800" cy="6156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89" b="0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89" b="0" i="0" u="none" strike="noStrike" kern="1200" cap="none" spc="0" normalizeH="0" baseline="0" noProof="0" dirty="0" smtClean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токол выбора</a:t>
            </a:r>
            <a:r>
              <a:rPr lang="ru-RU" sz="1889" b="0" dirty="0" smtClean="0">
                <a:solidFill>
                  <a:srgbClr val="808080">
                    <a:lumMod val="50000"/>
                  </a:srgbClr>
                </a:solidFill>
                <a:cs typeface="Arial" panose="020B0604020202020204" pitchFamily="34" charset="0"/>
              </a:rPr>
              <a:t> / Печатная форма протокола /</a:t>
            </a:r>
            <a:endParaRPr kumimoji="0" lang="ru-RU" sz="1889" b="0" i="0" u="none" strike="noStrike" kern="1200" cap="none" spc="0" normalizeH="0" baseline="0" noProof="0" dirty="0" smtClean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413" y="791815"/>
            <a:ext cx="5363727" cy="4896544"/>
          </a:xfrm>
          <a:prstGeom prst="rect">
            <a:avLst/>
          </a:prstGeom>
          <a:effectLst>
            <a:outerShdw blurRad="127000" dist="50800" dir="5400000" algn="ctr" rotWithShape="0">
              <a:srgbClr val="000000">
                <a:alpha val="43137"/>
              </a:srgbClr>
            </a:outerShdw>
          </a:effec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89029" y="792527"/>
            <a:ext cx="5365965" cy="4424257"/>
          </a:xfrm>
          <a:prstGeom prst="rect">
            <a:avLst/>
          </a:prstGeom>
          <a:effectLst>
            <a:outerShdw blurRad="127000" dist="50800" dir="5400000" algn="ctr" rotWithShape="0">
              <a:srgbClr val="000000">
                <a:alpha val="43137"/>
              </a:srgb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40957" y="4313690"/>
            <a:ext cx="5366034" cy="2166485"/>
          </a:xfrm>
          <a:prstGeom prst="rect">
            <a:avLst/>
          </a:prstGeom>
          <a:effectLst>
            <a:outerShdw blurRad="127000" dist="50800" dir="5400000" algn="ctr" rotWithShape="0">
              <a:srgbClr val="000000">
                <a:alpha val="43137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02247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"/>
          <p:cNvSpPr>
            <a:spLocks noChangeArrowheads="1"/>
          </p:cNvSpPr>
          <p:nvPr/>
        </p:nvSpPr>
        <p:spPr bwMode="auto">
          <a:xfrm>
            <a:off x="1728589" y="0"/>
            <a:ext cx="7200800" cy="6156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89" b="0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89" b="0" i="0" u="none" strike="noStrike" kern="1200" cap="none" spc="0" normalizeH="0" baseline="0" noProof="0" dirty="0" smtClean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Заключение договоров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405" y="719807"/>
            <a:ext cx="9000000" cy="535645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9145413" y="2447999"/>
            <a:ext cx="2233248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0" dirty="0">
                <a:solidFill>
                  <a:schemeClr val="tx1"/>
                </a:solidFill>
              </a:rPr>
              <a:t>Для возможности заключения договоров  протокол должен быть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b="0" dirty="0">
                <a:solidFill>
                  <a:schemeClr val="tx1"/>
                </a:solidFill>
              </a:rPr>
              <a:t>Проведен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b="0" dirty="0">
                <a:solidFill>
                  <a:schemeClr val="tx1"/>
                </a:solidFill>
              </a:rPr>
              <a:t>Утвержден</a:t>
            </a:r>
          </a:p>
          <a:p>
            <a:endParaRPr lang="ru-RU" sz="1400" b="0" dirty="0" smtClean="0">
              <a:solidFill>
                <a:schemeClr val="tx1"/>
              </a:solidFill>
            </a:endParaRPr>
          </a:p>
          <a:p>
            <a:r>
              <a:rPr lang="ru-RU" sz="1400" b="0" dirty="0" smtClean="0">
                <a:solidFill>
                  <a:schemeClr val="tx1"/>
                </a:solidFill>
              </a:rPr>
              <a:t>После этого становится доступна кнопка «Управление договорами закупки»</a:t>
            </a:r>
            <a:endParaRPr lang="ru-RU" sz="1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2818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"/>
          <p:cNvSpPr>
            <a:spLocks noChangeArrowheads="1"/>
          </p:cNvSpPr>
          <p:nvPr/>
        </p:nvSpPr>
        <p:spPr bwMode="auto">
          <a:xfrm>
            <a:off x="1728589" y="0"/>
            <a:ext cx="7200800" cy="6156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89" b="0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89" b="0" i="0" u="none" strike="noStrike" kern="1200" cap="none" spc="0" normalizeH="0" baseline="0" noProof="0" dirty="0" smtClean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правление договорами закупки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04453" y="3744143"/>
            <a:ext cx="1044116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0" dirty="0" smtClean="0">
                <a:solidFill>
                  <a:schemeClr val="tx1"/>
                </a:solidFill>
              </a:rPr>
              <a:t>Создание договора выполняется с каждым поставщиком по кнопке «Создать договор». </a:t>
            </a:r>
            <a:endParaRPr lang="ru-RU" sz="1400" b="0" dirty="0" smtClean="0">
              <a:solidFill>
                <a:schemeClr val="tx1"/>
              </a:solidFill>
            </a:endParaRPr>
          </a:p>
          <a:p>
            <a:endParaRPr lang="ru-RU" sz="1400" b="0" dirty="0" smtClean="0">
              <a:solidFill>
                <a:schemeClr val="tx1"/>
              </a:solidFill>
            </a:endParaRPr>
          </a:p>
          <a:p>
            <a:r>
              <a:rPr lang="ru-RU" sz="1400" b="0" dirty="0" smtClean="0">
                <a:solidFill>
                  <a:schemeClr val="tx1"/>
                </a:solidFill>
              </a:rPr>
              <a:t>В договор из закупочной процедуры переходит информация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b="0" dirty="0" smtClean="0">
                <a:solidFill>
                  <a:schemeClr val="tx1"/>
                </a:solidFill>
              </a:rPr>
              <a:t>График поставок (данные распределения по поставщикам согласно протоколу выбора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b="0" dirty="0" smtClean="0">
                <a:solidFill>
                  <a:schemeClr val="tx1"/>
                </a:solidFill>
              </a:rPr>
              <a:t>Условие оплаты (на основании которого в договоре формируется график расчетов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b="0" dirty="0" smtClean="0">
                <a:solidFill>
                  <a:schemeClr val="tx1"/>
                </a:solidFill>
              </a:rPr>
              <a:t>Ссылка на предложение поставщика (для информации об гарантийных обязательствах и условиях поставки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b="0" dirty="0" smtClean="0">
                <a:solidFill>
                  <a:schemeClr val="tx1"/>
                </a:solidFill>
              </a:rPr>
              <a:t>Для участников закупки по 223-ФЗ заполняется закладка «223-ФЗ»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sz="1400" b="0" dirty="0" smtClean="0">
              <a:solidFill>
                <a:schemeClr val="tx1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4453" y="1151854"/>
            <a:ext cx="10800000" cy="2384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1337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582282" y="1727919"/>
            <a:ext cx="635751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4800" b="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Оценка по критериям</a:t>
            </a:r>
            <a:endParaRPr lang="ru-RU" sz="4800" b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4098" name="Picture 2" descr="https://opencartforum.com/storage/attachment/monthly_2019_06/image.png.d6a96f1aee1ce1a936287e69d545165e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2845" y="2664023"/>
            <a:ext cx="3456384" cy="3467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14830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"/>
          <p:cNvSpPr>
            <a:spLocks noChangeArrowheads="1"/>
          </p:cNvSpPr>
          <p:nvPr/>
        </p:nvSpPr>
        <p:spPr bwMode="auto">
          <a:xfrm>
            <a:off x="1728589" y="0"/>
            <a:ext cx="7200800" cy="6156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89" b="0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89" b="0" i="0" u="none" strike="noStrike" kern="1200" cap="none" spc="0" normalizeH="0" baseline="0" noProof="0" dirty="0" smtClean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трока плана закупок / Запрос</a:t>
            </a:r>
            <a:r>
              <a:rPr kumimoji="0" lang="ru-RU" sz="1889" b="0" i="0" u="none" strike="noStrike" kern="1200" cap="none" spc="0" normalizeH="0" noProof="0" dirty="0" smtClean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предложений</a:t>
            </a:r>
            <a:endParaRPr kumimoji="0" lang="ru-RU" sz="1889" b="0" i="0" u="none" strike="noStrike" kern="1200" cap="none" spc="0" normalizeH="0" baseline="0" noProof="0" dirty="0" smtClean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0437" y="1079847"/>
            <a:ext cx="10800000" cy="5077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9982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"/>
          <p:cNvSpPr>
            <a:spLocks noChangeArrowheads="1"/>
          </p:cNvSpPr>
          <p:nvPr/>
        </p:nvSpPr>
        <p:spPr bwMode="auto">
          <a:xfrm>
            <a:off x="1728589" y="0"/>
            <a:ext cx="7200800" cy="6156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89" b="0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89" b="0" i="0" u="none" strike="noStrike" kern="1200" cap="none" spc="0" normalizeH="0" baseline="0" noProof="0" dirty="0" smtClean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Закупочная процедура / Запрос</a:t>
            </a:r>
            <a:r>
              <a:rPr kumimoji="0" lang="ru-RU" sz="1889" b="0" i="0" u="none" strike="noStrike" kern="1200" cap="none" spc="0" normalizeH="0" noProof="0" dirty="0" smtClean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предложений</a:t>
            </a:r>
            <a:endParaRPr kumimoji="0" lang="ru-RU" sz="1889" b="0" i="0" u="none" strike="noStrike" kern="1200" cap="none" spc="0" normalizeH="0" baseline="0" noProof="0" dirty="0" smtClean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037" y="1007839"/>
            <a:ext cx="10800000" cy="4820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4952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872605" y="1223863"/>
            <a:ext cx="7943691" cy="2653595"/>
          </a:xfrm>
          <a:prstGeom prst="rect">
            <a:avLst/>
          </a:prstGeom>
          <a:solidFill>
            <a:srgbClr val="FFFF99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t"/>
          <a:lstStyle/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34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ед. 3.1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282721" y="1563079"/>
            <a:ext cx="1021176" cy="476286"/>
          </a:xfrm>
          <a:prstGeom prst="rect">
            <a:avLst/>
          </a:prstGeom>
          <a:gradFill rotWithShape="1">
            <a:gsLst>
              <a:gs pos="0">
                <a:srgbClr val="BBE0E3">
                  <a:satMod val="103000"/>
                  <a:lumMod val="102000"/>
                  <a:tint val="94000"/>
                </a:srgbClr>
              </a:gs>
              <a:gs pos="50000">
                <a:srgbClr val="BBE0E3">
                  <a:satMod val="110000"/>
                  <a:lumMod val="100000"/>
                  <a:shade val="100000"/>
                </a:srgbClr>
              </a:gs>
              <a:gs pos="100000">
                <a:srgbClr val="BBE0E3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0" cap="none" spc="0" normalizeH="0" baseline="0" noProof="0" dirty="0" smtClean="0">
                <a:ln w="0"/>
                <a:solidFill>
                  <a:srgbClr val="000000"/>
                </a:solidFill>
                <a:effectLst>
                  <a:outerShdw blurRad="38100" dist="19050" dir="2700000" algn="tl" rotWithShape="0">
                    <a:srgbClr val="000000">
                      <a:alpha val="40000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План потребности</a:t>
            </a:r>
            <a:endParaRPr kumimoji="0" lang="ru-RU" sz="11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762757" y="1563079"/>
            <a:ext cx="1021176" cy="476286"/>
          </a:xfrm>
          <a:prstGeom prst="rect">
            <a:avLst/>
          </a:prstGeom>
          <a:gradFill rotWithShape="1">
            <a:gsLst>
              <a:gs pos="0">
                <a:srgbClr val="BBE0E3">
                  <a:satMod val="103000"/>
                  <a:lumMod val="102000"/>
                  <a:tint val="94000"/>
                </a:srgbClr>
              </a:gs>
              <a:gs pos="50000">
                <a:srgbClr val="BBE0E3">
                  <a:satMod val="110000"/>
                  <a:lumMod val="100000"/>
                  <a:shade val="100000"/>
                </a:srgbClr>
              </a:gs>
              <a:gs pos="100000">
                <a:srgbClr val="BBE0E3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0" cap="none" spc="0" normalizeH="0" baseline="0" noProof="0" dirty="0" smtClean="0">
                <a:ln w="0"/>
                <a:solidFill>
                  <a:srgbClr val="000000"/>
                </a:solidFill>
                <a:effectLst>
                  <a:outerShdw blurRad="38100" dist="19050" dir="2700000" algn="tl" rotWithShape="0">
                    <a:srgbClr val="000000">
                      <a:alpha val="40000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Программа закупок</a:t>
            </a:r>
            <a:endParaRPr kumimoji="0" lang="ru-RU" sz="11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841459" y="1563079"/>
            <a:ext cx="1020500" cy="476286"/>
          </a:xfrm>
          <a:prstGeom prst="rect">
            <a:avLst/>
          </a:prstGeom>
          <a:gradFill rotWithShape="1">
            <a:gsLst>
              <a:gs pos="0">
                <a:srgbClr val="BBE0E3">
                  <a:satMod val="103000"/>
                  <a:lumMod val="102000"/>
                  <a:tint val="94000"/>
                </a:srgbClr>
              </a:gs>
              <a:gs pos="50000">
                <a:srgbClr val="BBE0E3">
                  <a:satMod val="110000"/>
                  <a:lumMod val="100000"/>
                  <a:shade val="100000"/>
                </a:srgbClr>
              </a:gs>
              <a:gs pos="100000">
                <a:srgbClr val="BBE0E3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0" cap="none" spc="0" normalizeH="0" baseline="0" noProof="0" dirty="0" smtClean="0">
                <a:ln w="0"/>
                <a:solidFill>
                  <a:srgbClr val="000000"/>
                </a:solidFill>
                <a:effectLst>
                  <a:outerShdw blurRad="38100" dist="19050" dir="2700000" algn="tl" rotWithShape="0">
                    <a:srgbClr val="000000">
                      <a:alpha val="40000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Договоры</a:t>
            </a:r>
            <a:endParaRPr kumimoji="0" lang="ru-RU" sz="11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8270318" y="1563079"/>
            <a:ext cx="1020500" cy="476286"/>
          </a:xfrm>
          <a:prstGeom prst="rect">
            <a:avLst/>
          </a:prstGeom>
          <a:gradFill rotWithShape="1">
            <a:gsLst>
              <a:gs pos="0">
                <a:srgbClr val="BBE0E3">
                  <a:satMod val="103000"/>
                  <a:lumMod val="102000"/>
                  <a:tint val="94000"/>
                </a:srgbClr>
              </a:gs>
              <a:gs pos="50000">
                <a:srgbClr val="BBE0E3">
                  <a:satMod val="110000"/>
                  <a:lumMod val="100000"/>
                  <a:shade val="100000"/>
                </a:srgbClr>
              </a:gs>
              <a:gs pos="100000">
                <a:srgbClr val="BBE0E3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0" cap="none" spc="0" normalizeH="0" baseline="0" noProof="0" dirty="0" smtClean="0">
                <a:ln w="0"/>
                <a:solidFill>
                  <a:srgbClr val="000000"/>
                </a:solidFill>
                <a:effectLst>
                  <a:outerShdw blurRad="38100" dist="19050" dir="2700000" algn="tl" rotWithShape="0">
                    <a:srgbClr val="000000">
                      <a:alpha val="40000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Исполнение договоров</a:t>
            </a:r>
            <a:endParaRPr kumimoji="0" lang="ru-RU" sz="11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5335532" y="1563079"/>
            <a:ext cx="1021176" cy="476286"/>
          </a:xfrm>
          <a:prstGeom prst="rect">
            <a:avLst/>
          </a:prstGeom>
          <a:gradFill rotWithShape="1">
            <a:gsLst>
              <a:gs pos="0">
                <a:srgbClr val="BBE0E3">
                  <a:satMod val="103000"/>
                  <a:lumMod val="102000"/>
                  <a:tint val="94000"/>
                </a:srgbClr>
              </a:gs>
              <a:gs pos="50000">
                <a:srgbClr val="BBE0E3">
                  <a:satMod val="110000"/>
                  <a:lumMod val="100000"/>
                  <a:shade val="100000"/>
                </a:srgbClr>
              </a:gs>
              <a:gs pos="100000">
                <a:srgbClr val="BBE0E3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solidFill>
              <a:srgbClr val="000000"/>
            </a:solidFill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0" cap="none" spc="0" normalizeH="0" baseline="0" noProof="0" dirty="0" smtClean="0">
                <a:ln w="0"/>
                <a:solidFill>
                  <a:srgbClr val="000000"/>
                </a:solidFill>
                <a:effectLst>
                  <a:outerShdw blurRad="38100" dist="19050" dir="2700000" algn="tl" rotWithShape="0">
                    <a:srgbClr val="000000">
                      <a:alpha val="40000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Закупочная процедура</a:t>
            </a:r>
            <a:endParaRPr kumimoji="0" lang="ru-RU" sz="11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2" name="Прямая соединительная линия 7"/>
          <p:cNvCxnSpPr>
            <a:stCxn id="11" idx="1"/>
            <a:endCxn id="4" idx="3"/>
          </p:cNvCxnSpPr>
          <p:nvPr/>
        </p:nvCxnSpPr>
        <p:spPr>
          <a:xfrm flipH="1">
            <a:off x="4783931" y="1801222"/>
            <a:ext cx="551599" cy="0"/>
          </a:xfrm>
          <a:prstGeom prst="straightConnector1">
            <a:avLst/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  <p:cxnSp>
        <p:nvCxnSpPr>
          <p:cNvPr id="13" name="Прямая соединительная линия 7"/>
          <p:cNvCxnSpPr>
            <a:stCxn id="5" idx="1"/>
            <a:endCxn id="11" idx="3"/>
          </p:cNvCxnSpPr>
          <p:nvPr/>
        </p:nvCxnSpPr>
        <p:spPr>
          <a:xfrm flipH="1">
            <a:off x="6356708" y="1801222"/>
            <a:ext cx="484754" cy="0"/>
          </a:xfrm>
          <a:prstGeom prst="straightConnector1">
            <a:avLst/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  <p:cxnSp>
        <p:nvCxnSpPr>
          <p:cNvPr id="14" name="Прямая соединительная линия 7"/>
          <p:cNvCxnSpPr>
            <a:stCxn id="6" idx="1"/>
            <a:endCxn id="5" idx="3"/>
          </p:cNvCxnSpPr>
          <p:nvPr/>
        </p:nvCxnSpPr>
        <p:spPr>
          <a:xfrm flipH="1">
            <a:off x="7861959" y="1801222"/>
            <a:ext cx="408359" cy="0"/>
          </a:xfrm>
          <a:prstGeom prst="straightConnector1">
            <a:avLst/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  <p:pic>
        <p:nvPicPr>
          <p:cNvPr id="15" name="Рисунок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2962" y="1869110"/>
            <a:ext cx="243703" cy="291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8" name="Группа 17"/>
          <p:cNvGrpSpPr/>
          <p:nvPr/>
        </p:nvGrpSpPr>
        <p:grpSpPr>
          <a:xfrm>
            <a:off x="3702300" y="2378583"/>
            <a:ext cx="4284301" cy="1327930"/>
            <a:chOff x="902000" y="3031757"/>
            <a:chExt cx="4534096" cy="1405355"/>
          </a:xfrm>
        </p:grpSpPr>
        <p:sp>
          <p:nvSpPr>
            <p:cNvPr id="19" name="Скругленный прямоугольник 18"/>
            <p:cNvSpPr/>
            <p:nvPr/>
          </p:nvSpPr>
          <p:spPr>
            <a:xfrm>
              <a:off x="902000" y="3031757"/>
              <a:ext cx="4534096" cy="1405355"/>
            </a:xfrm>
            <a:prstGeom prst="roundRect">
              <a:avLst>
                <a:gd name="adj" fmla="val 6702"/>
              </a:avLst>
            </a:prstGeom>
            <a:solidFill>
              <a:srgbClr val="FFFFFF"/>
            </a:solidFill>
            <a:ln w="12700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9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993096" y="3837215"/>
              <a:ext cx="1280870" cy="504056"/>
            </a:xfrm>
            <a:prstGeom prst="rect">
              <a:avLst/>
            </a:prstGeom>
            <a:gradFill rotWithShape="1">
              <a:gsLst>
                <a:gs pos="0">
                  <a:srgbClr val="BBE0E3">
                    <a:satMod val="103000"/>
                    <a:lumMod val="102000"/>
                    <a:tint val="94000"/>
                  </a:srgbClr>
                </a:gs>
                <a:gs pos="50000">
                  <a:srgbClr val="BBE0E3">
                    <a:satMod val="110000"/>
                    <a:lumMod val="100000"/>
                    <a:shade val="100000"/>
                  </a:srgbClr>
                </a:gs>
                <a:gs pos="100000">
                  <a:srgbClr val="BBE0E3">
                    <a:lumMod val="99000"/>
                    <a:satMod val="120000"/>
                    <a:shade val="78000"/>
                  </a:srgb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34" b="0" i="0" u="none" strike="noStrike" kern="0" cap="none" spc="0" normalizeH="0" baseline="0" noProof="0" dirty="0" smtClean="0">
                  <a:ln w="0"/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Квалификационный отбор</a:t>
              </a:r>
              <a:endParaRPr kumimoji="0" lang="ru-RU" sz="1134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2510252" y="3837215"/>
              <a:ext cx="1280870" cy="504056"/>
            </a:xfrm>
            <a:prstGeom prst="rect">
              <a:avLst/>
            </a:prstGeom>
            <a:gradFill rotWithShape="1">
              <a:gsLst>
                <a:gs pos="0">
                  <a:srgbClr val="BBE0E3">
                    <a:satMod val="103000"/>
                    <a:lumMod val="102000"/>
                    <a:tint val="94000"/>
                  </a:srgbClr>
                </a:gs>
                <a:gs pos="50000">
                  <a:srgbClr val="BBE0E3">
                    <a:satMod val="110000"/>
                    <a:lumMod val="100000"/>
                    <a:shade val="100000"/>
                  </a:srgbClr>
                </a:gs>
                <a:gs pos="100000">
                  <a:srgbClr val="BBE0E3">
                    <a:lumMod val="99000"/>
                    <a:satMod val="120000"/>
                    <a:shade val="78000"/>
                  </a:srgb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34" b="0" i="0" u="none" strike="noStrike" kern="0" cap="none" spc="0" normalizeH="0" baseline="0" noProof="0" dirty="0" smtClean="0">
                  <a:ln w="0"/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Оценка предложений</a:t>
              </a:r>
              <a:endParaRPr kumimoji="0" lang="ru-RU" sz="1134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Прямоугольник 21"/>
            <p:cNvSpPr/>
            <p:nvPr/>
          </p:nvSpPr>
          <p:spPr>
            <a:xfrm>
              <a:off x="4031583" y="3113757"/>
              <a:ext cx="1280870" cy="504056"/>
            </a:xfrm>
            <a:prstGeom prst="rect">
              <a:avLst/>
            </a:prstGeom>
            <a:gradFill rotWithShape="1">
              <a:gsLst>
                <a:gs pos="0">
                  <a:srgbClr val="BBE0E3">
                    <a:satMod val="103000"/>
                    <a:lumMod val="102000"/>
                    <a:tint val="94000"/>
                  </a:srgbClr>
                </a:gs>
                <a:gs pos="50000">
                  <a:srgbClr val="BBE0E3">
                    <a:satMod val="110000"/>
                    <a:lumMod val="100000"/>
                    <a:shade val="100000"/>
                  </a:srgbClr>
                </a:gs>
                <a:gs pos="100000">
                  <a:srgbClr val="BBE0E3">
                    <a:lumMod val="99000"/>
                    <a:satMod val="120000"/>
                    <a:shade val="78000"/>
                  </a:srgb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34" b="0" i="0" u="none" strike="noStrike" kern="0" cap="none" spc="0" normalizeH="0" baseline="0" noProof="0" dirty="0" smtClean="0">
                  <a:ln w="0"/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Переторжка</a:t>
              </a:r>
              <a:endParaRPr kumimoji="0" lang="ru-RU" sz="1134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Прямоугольник 22"/>
            <p:cNvSpPr/>
            <p:nvPr/>
          </p:nvSpPr>
          <p:spPr>
            <a:xfrm>
              <a:off x="4031583" y="3837215"/>
              <a:ext cx="1280870" cy="504056"/>
            </a:xfrm>
            <a:prstGeom prst="rect">
              <a:avLst/>
            </a:prstGeom>
            <a:gradFill rotWithShape="1">
              <a:gsLst>
                <a:gs pos="0">
                  <a:srgbClr val="BBE0E3">
                    <a:satMod val="103000"/>
                    <a:lumMod val="102000"/>
                    <a:tint val="94000"/>
                  </a:srgbClr>
                </a:gs>
                <a:gs pos="50000">
                  <a:srgbClr val="BBE0E3">
                    <a:satMod val="110000"/>
                    <a:lumMod val="100000"/>
                    <a:shade val="100000"/>
                  </a:srgbClr>
                </a:gs>
                <a:gs pos="100000">
                  <a:srgbClr val="BBE0E3">
                    <a:lumMod val="99000"/>
                    <a:satMod val="120000"/>
                    <a:shade val="78000"/>
                  </a:srgb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34" b="0" i="0" u="none" strike="noStrike" kern="0" cap="none" spc="0" normalizeH="0" baseline="0" noProof="0" dirty="0" smtClean="0">
                  <a:ln w="0"/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Протоколы</a:t>
              </a:r>
              <a:endParaRPr kumimoji="0" lang="ru-RU" sz="1134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Прямоугольник 23"/>
            <p:cNvSpPr/>
            <p:nvPr/>
          </p:nvSpPr>
          <p:spPr>
            <a:xfrm>
              <a:off x="2510252" y="3104519"/>
              <a:ext cx="1280870" cy="504056"/>
            </a:xfrm>
            <a:prstGeom prst="rect">
              <a:avLst/>
            </a:prstGeom>
            <a:gradFill rotWithShape="1">
              <a:gsLst>
                <a:gs pos="0">
                  <a:srgbClr val="BBE0E3">
                    <a:satMod val="103000"/>
                    <a:lumMod val="102000"/>
                    <a:tint val="94000"/>
                  </a:srgbClr>
                </a:gs>
                <a:gs pos="50000">
                  <a:srgbClr val="BBE0E3">
                    <a:satMod val="110000"/>
                    <a:lumMod val="100000"/>
                    <a:shade val="100000"/>
                  </a:srgbClr>
                </a:gs>
                <a:gs pos="100000">
                  <a:srgbClr val="BBE0E3">
                    <a:lumMod val="99000"/>
                    <a:satMod val="120000"/>
                    <a:shade val="78000"/>
                  </a:srgb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34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Предложения участников</a:t>
              </a:r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988921" y="3104519"/>
              <a:ext cx="1280870" cy="504056"/>
            </a:xfrm>
            <a:prstGeom prst="rect">
              <a:avLst/>
            </a:prstGeom>
            <a:gradFill rotWithShape="1">
              <a:gsLst>
                <a:gs pos="0">
                  <a:srgbClr val="BBE0E3">
                    <a:satMod val="103000"/>
                    <a:lumMod val="102000"/>
                    <a:tint val="94000"/>
                  </a:srgbClr>
                </a:gs>
                <a:gs pos="50000">
                  <a:srgbClr val="BBE0E3">
                    <a:satMod val="110000"/>
                    <a:lumMod val="100000"/>
                    <a:shade val="100000"/>
                  </a:srgbClr>
                </a:gs>
                <a:gs pos="100000">
                  <a:srgbClr val="BBE0E3">
                    <a:lumMod val="99000"/>
                    <a:satMod val="120000"/>
                    <a:shade val="78000"/>
                  </a:srgb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34" b="0" i="0" u="none" strike="noStrike" kern="0" cap="none" spc="0" normalizeH="0" baseline="0" noProof="0" dirty="0" smtClean="0">
                  <a:ln w="0"/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Приглашение поставщиков</a:t>
              </a:r>
              <a:endParaRPr kumimoji="0" lang="ru-RU" sz="1134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cxnSp>
        <p:nvCxnSpPr>
          <p:cNvPr id="26" name="Прямая соединительная линия 7"/>
          <p:cNvCxnSpPr>
            <a:stCxn id="19" idx="0"/>
            <a:endCxn id="11" idx="2"/>
          </p:cNvCxnSpPr>
          <p:nvPr/>
        </p:nvCxnSpPr>
        <p:spPr>
          <a:xfrm flipV="1">
            <a:off x="5844453" y="2039367"/>
            <a:ext cx="1668" cy="339215"/>
          </a:xfrm>
          <a:prstGeom prst="straightConnector1">
            <a:avLst/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  <p:pic>
        <p:nvPicPr>
          <p:cNvPr id="27" name="Рисунок 2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0369" y="2584684"/>
            <a:ext cx="1160034" cy="844650"/>
          </a:xfrm>
          <a:prstGeom prst="rect">
            <a:avLst/>
          </a:prstGeom>
        </p:spPr>
      </p:pic>
      <p:cxnSp>
        <p:nvCxnSpPr>
          <p:cNvPr id="46" name="Прямая соединительная линия 7"/>
          <p:cNvCxnSpPr>
            <a:stCxn id="4" idx="1"/>
            <a:endCxn id="3" idx="3"/>
          </p:cNvCxnSpPr>
          <p:nvPr/>
        </p:nvCxnSpPr>
        <p:spPr>
          <a:xfrm flipH="1">
            <a:off x="3303895" y="1801222"/>
            <a:ext cx="458860" cy="0"/>
          </a:xfrm>
          <a:prstGeom prst="straightConnector1">
            <a:avLst/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  <p:grpSp>
        <p:nvGrpSpPr>
          <p:cNvPr id="47" name="Группа 46"/>
          <p:cNvGrpSpPr/>
          <p:nvPr/>
        </p:nvGrpSpPr>
        <p:grpSpPr>
          <a:xfrm>
            <a:off x="2113474" y="2454118"/>
            <a:ext cx="1377682" cy="884532"/>
            <a:chOff x="593713" y="3068961"/>
            <a:chExt cx="1458007" cy="936104"/>
          </a:xfrm>
        </p:grpSpPr>
        <p:sp>
          <p:nvSpPr>
            <p:cNvPr id="48" name="Скругленный прямоугольник 47"/>
            <p:cNvSpPr/>
            <p:nvPr/>
          </p:nvSpPr>
          <p:spPr>
            <a:xfrm>
              <a:off x="593713" y="3068961"/>
              <a:ext cx="1458007" cy="936104"/>
            </a:xfrm>
            <a:prstGeom prst="roundRect">
              <a:avLst>
                <a:gd name="adj" fmla="val 5528"/>
              </a:avLst>
            </a:prstGeom>
            <a:solidFill>
              <a:srgbClr val="FFFFFF"/>
            </a:solidFill>
            <a:ln w="12700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45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Личный кабинет</a:t>
              </a:r>
            </a:p>
          </p:txBody>
        </p:sp>
        <p:sp>
          <p:nvSpPr>
            <p:cNvPr id="49" name="Прямоугольник 48"/>
            <p:cNvSpPr/>
            <p:nvPr/>
          </p:nvSpPr>
          <p:spPr>
            <a:xfrm>
              <a:off x="667835" y="3357048"/>
              <a:ext cx="1280870" cy="504000"/>
            </a:xfrm>
            <a:prstGeom prst="rect">
              <a:avLst/>
            </a:prstGeom>
            <a:gradFill rotWithShape="1">
              <a:gsLst>
                <a:gs pos="0">
                  <a:srgbClr val="BBE0E3">
                    <a:satMod val="103000"/>
                    <a:lumMod val="102000"/>
                    <a:tint val="94000"/>
                  </a:srgbClr>
                </a:gs>
                <a:gs pos="50000">
                  <a:srgbClr val="BBE0E3">
                    <a:satMod val="110000"/>
                    <a:lumMod val="100000"/>
                    <a:shade val="100000"/>
                  </a:srgbClr>
                </a:gs>
                <a:gs pos="100000">
                  <a:srgbClr val="BBE0E3">
                    <a:lumMod val="99000"/>
                    <a:satMod val="120000"/>
                    <a:shade val="78000"/>
                  </a:srgb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864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34" b="0" i="0" u="none" strike="noStrike" kern="0" cap="none" spc="0" normalizeH="0" baseline="0" noProof="0" dirty="0" smtClean="0">
                  <a:ln w="0"/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Аккредитация поставщиков</a:t>
              </a:r>
              <a:endParaRPr kumimoji="0" lang="ru-RU" sz="1134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0" name="Rectangle 4"/>
          <p:cNvSpPr>
            <a:spLocks noChangeArrowheads="1"/>
          </p:cNvSpPr>
          <p:nvPr/>
        </p:nvSpPr>
        <p:spPr bwMode="auto">
          <a:xfrm>
            <a:off x="1725022" y="255946"/>
            <a:ext cx="4494673" cy="8773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89" b="0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89" b="0" i="0" u="none" strike="noStrike" kern="1200" cap="none" spc="0" normalizeH="0" baseline="0" noProof="0" dirty="0" smtClean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крупненная схема закупок</a:t>
            </a:r>
            <a:r>
              <a:rPr kumimoji="0" lang="ru-RU" sz="1889" b="0" i="0" u="none" strike="noStrike" kern="1200" cap="none" spc="0" normalizeH="0" noProof="0" dirty="0" smtClean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в ред.3.1</a:t>
            </a: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89" b="0" i="0" u="none" strike="noStrike" kern="1200" cap="none" spc="0" normalizeH="0" baseline="0" noProof="0" dirty="0" smtClean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1815670" y="4176191"/>
            <a:ext cx="8057559" cy="19543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rPr>
              <a:t>Лотовый </a:t>
            </a:r>
            <a:r>
              <a:rPr lang="ru-RU" sz="1100" b="0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rPr>
              <a:t>вид </a:t>
            </a:r>
            <a:r>
              <a:rPr lang="ru-RU" sz="1100" b="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rPr>
              <a:t>закупки </a:t>
            </a:r>
            <a:r>
              <a:rPr lang="ru-RU" sz="1100" b="0" dirty="0" smtClean="0">
                <a:solidFill>
                  <a:schemeClr val="tx1"/>
                </a:solidFill>
              </a:rPr>
              <a:t>– поставщик </a:t>
            </a:r>
            <a:r>
              <a:rPr lang="ru-RU" sz="1100" b="0" dirty="0">
                <a:solidFill>
                  <a:schemeClr val="tx1"/>
                </a:solidFill>
              </a:rPr>
              <a:t>определяется на лот целиком. </a:t>
            </a:r>
            <a:r>
              <a:rPr lang="ru-RU" sz="1100" b="0" dirty="0" smtClean="0">
                <a:solidFill>
                  <a:schemeClr val="tx1"/>
                </a:solidFill>
              </a:rPr>
              <a:t>Предложения от поставщиков принимаются только на все позиции лота. Предложения на частичную поставку не рассматриваются.</a:t>
            </a:r>
          </a:p>
          <a:p>
            <a:endParaRPr lang="ru-RU" sz="1100" b="0" dirty="0" smtClean="0"/>
          </a:p>
          <a:p>
            <a:pPr lvl="0"/>
            <a:r>
              <a:rPr lang="ru-RU" sz="1100" b="0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rPr>
              <a:t>Попозиционный вид </a:t>
            </a:r>
            <a:r>
              <a:rPr lang="ru-RU" sz="1100" b="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cs typeface="Arial" charset="0"/>
              </a:rPr>
              <a:t>закупки </a:t>
            </a:r>
            <a:r>
              <a:rPr lang="ru-RU" sz="1100" b="0" dirty="0" smtClean="0">
                <a:solidFill>
                  <a:schemeClr val="tx1"/>
                </a:solidFill>
              </a:rPr>
              <a:t>– </a:t>
            </a:r>
            <a:r>
              <a:rPr lang="ru-RU" sz="1100" b="0" dirty="0">
                <a:solidFill>
                  <a:schemeClr val="tx1"/>
                </a:solidFill>
              </a:rPr>
              <a:t>подразумевает возможность подачи заявок </a:t>
            </a:r>
            <a:r>
              <a:rPr lang="ru-RU" sz="1100" b="0" dirty="0" smtClean="0">
                <a:solidFill>
                  <a:schemeClr val="tx1"/>
                </a:solidFill>
              </a:rPr>
              <a:t>на часть </a:t>
            </a:r>
            <a:r>
              <a:rPr lang="ru-RU" sz="1100" b="0" dirty="0" smtClean="0">
                <a:solidFill>
                  <a:schemeClr val="tx1"/>
                </a:solidFill>
              </a:rPr>
              <a:t>позиций </a:t>
            </a:r>
            <a:r>
              <a:rPr lang="ru-RU" sz="1100" b="0" dirty="0" smtClean="0">
                <a:solidFill>
                  <a:schemeClr val="tx1"/>
                </a:solidFill>
              </a:rPr>
              <a:t>лота. При этом позиция лота не разбивается. Заказчик </a:t>
            </a:r>
            <a:r>
              <a:rPr lang="ru-RU" sz="1100" b="0" dirty="0">
                <a:solidFill>
                  <a:schemeClr val="tx1"/>
                </a:solidFill>
              </a:rPr>
              <a:t>вправе выбрать одного или нескольких победителей с дальнейшим заключением </a:t>
            </a:r>
            <a:r>
              <a:rPr lang="ru-RU" sz="1100" b="0" dirty="0" smtClean="0">
                <a:solidFill>
                  <a:schemeClr val="tx1"/>
                </a:solidFill>
              </a:rPr>
              <a:t>договора с </a:t>
            </a:r>
            <a:r>
              <a:rPr lang="ru-RU" sz="1100" b="0" dirty="0">
                <a:solidFill>
                  <a:schemeClr val="tx1"/>
                </a:solidFill>
              </a:rPr>
              <a:t>каждым </a:t>
            </a:r>
            <a:r>
              <a:rPr lang="ru-RU" sz="1100" b="0" dirty="0" smtClean="0">
                <a:solidFill>
                  <a:schemeClr val="tx1"/>
                </a:solidFill>
              </a:rPr>
              <a:t>поставщиком. </a:t>
            </a:r>
          </a:p>
          <a:p>
            <a:pPr lvl="0"/>
            <a:endParaRPr lang="ru-RU" sz="1100" b="0" dirty="0" smtClean="0">
              <a:solidFill>
                <a:schemeClr val="tx1"/>
              </a:solidFill>
            </a:endParaRPr>
          </a:p>
          <a:p>
            <a:pPr lvl="1"/>
            <a:r>
              <a:rPr lang="ru-RU" sz="1100" b="0" dirty="0" smtClean="0">
                <a:solidFill>
                  <a:schemeClr val="tx1"/>
                </a:solidFill>
              </a:rPr>
              <a:t>Законодательные ограничения:</a:t>
            </a:r>
          </a:p>
          <a:p>
            <a:pPr marL="628650" lvl="1" indent="-171450">
              <a:buFont typeface="Wingdings" panose="05000000000000000000" pitchFamily="2" charset="2"/>
              <a:buChar char="§"/>
            </a:pPr>
            <a:r>
              <a:rPr lang="ru-RU" sz="1100" b="0" dirty="0" smtClean="0">
                <a:solidFill>
                  <a:schemeClr val="tx1"/>
                </a:solidFill>
              </a:rPr>
              <a:t>для организаций, ведущих </a:t>
            </a:r>
            <a:r>
              <a:rPr lang="ru-RU" sz="1100" b="0" dirty="0" err="1" smtClean="0">
                <a:solidFill>
                  <a:schemeClr val="tx1"/>
                </a:solidFill>
              </a:rPr>
              <a:t>госзакупки</a:t>
            </a:r>
            <a:r>
              <a:rPr lang="ru-RU" sz="1100" b="0" dirty="0" smtClean="0">
                <a:solidFill>
                  <a:schemeClr val="tx1"/>
                </a:solidFill>
              </a:rPr>
              <a:t> (223-ФЗ) позиция лота не разбивается между поставщиками, но возможна частичная поставка по лоту</a:t>
            </a:r>
          </a:p>
          <a:p>
            <a:pPr marL="628650" lvl="1" indent="-171450">
              <a:buFont typeface="Wingdings" panose="05000000000000000000" pitchFamily="2" charset="2"/>
              <a:buChar char="§"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cs typeface="Arial" charset="0"/>
              </a:rPr>
              <a:t>для коммерческих закупок позиция лота может быть разделена между поставщиками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8111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"/>
          <p:cNvSpPr>
            <a:spLocks noChangeArrowheads="1"/>
          </p:cNvSpPr>
          <p:nvPr/>
        </p:nvSpPr>
        <p:spPr bwMode="auto">
          <a:xfrm>
            <a:off x="1728589" y="0"/>
            <a:ext cx="7200800" cy="6156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89" b="0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89" b="0" i="0" u="none" strike="noStrike" kern="1200" cap="none" spc="0" normalizeH="0" baseline="0" noProof="0" dirty="0" smtClean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Закупочная процедура / Лоты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037" y="863823"/>
            <a:ext cx="10800000" cy="2037886"/>
          </a:xfrm>
          <a:prstGeom prst="rect">
            <a:avLst/>
          </a:prstGeom>
        </p:spPr>
      </p:pic>
      <p:grpSp>
        <p:nvGrpSpPr>
          <p:cNvPr id="11" name="Группа 10"/>
          <p:cNvGrpSpPr/>
          <p:nvPr/>
        </p:nvGrpSpPr>
        <p:grpSpPr>
          <a:xfrm>
            <a:off x="1584920" y="2664023"/>
            <a:ext cx="7344470" cy="3799483"/>
            <a:chOff x="1584920" y="2664023"/>
            <a:chExt cx="7344470" cy="3799483"/>
          </a:xfrm>
        </p:grpSpPr>
        <p:grpSp>
          <p:nvGrpSpPr>
            <p:cNvPr id="5" name="Группа 4"/>
            <p:cNvGrpSpPr/>
            <p:nvPr/>
          </p:nvGrpSpPr>
          <p:grpSpPr>
            <a:xfrm>
              <a:off x="1584920" y="2664023"/>
              <a:ext cx="287338" cy="287338"/>
              <a:chOff x="6176162" y="5681234"/>
              <a:chExt cx="287338" cy="287338"/>
            </a:xfrm>
          </p:grpSpPr>
          <p:pic>
            <p:nvPicPr>
              <p:cNvPr id="6" name="Рисунок 5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519340">
                <a:off x="6176162" y="5681234"/>
                <a:ext cx="287338" cy="2873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" name="Равнобедренный треугольник 6"/>
              <p:cNvSpPr/>
              <p:nvPr/>
            </p:nvSpPr>
            <p:spPr>
              <a:xfrm rot="19500000">
                <a:off x="6260177" y="5758166"/>
                <a:ext cx="126000" cy="143853"/>
              </a:xfrm>
              <a:prstGeom prst="triangle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778034" y="2924005"/>
              <a:ext cx="5151356" cy="3539501"/>
            </a:xfrm>
            <a:prstGeom prst="rect">
              <a:avLst/>
            </a:prstGeom>
            <a:ln w="28575">
              <a:solidFill>
                <a:schemeClr val="dk1"/>
              </a:solidFill>
            </a:ln>
            <a:effectLst>
              <a:outerShdw blurRad="127000" dist="50800" dir="5400000" algn="ctr" rotWithShape="0">
                <a:srgbClr val="000000">
                  <a:alpha val="43137"/>
                </a:srgbClr>
              </a:outerShdw>
            </a:effectLst>
          </p:spPr>
        </p:pic>
        <p:cxnSp>
          <p:nvCxnSpPr>
            <p:cNvPr id="10" name="Прямая со стрелкой 9"/>
            <p:cNvCxnSpPr/>
            <p:nvPr/>
          </p:nvCxnSpPr>
          <p:spPr bwMode="auto">
            <a:xfrm>
              <a:off x="2016621" y="3024063"/>
              <a:ext cx="1656184" cy="288032"/>
            </a:xfrm>
            <a:prstGeom prst="straightConnector1">
              <a:avLst/>
            </a:prstGeom>
            <a:ln w="38100">
              <a:tailEnd type="arrow"/>
            </a:ln>
            <a:ex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15" name="Группа 14"/>
          <p:cNvGrpSpPr/>
          <p:nvPr/>
        </p:nvGrpSpPr>
        <p:grpSpPr>
          <a:xfrm>
            <a:off x="291615" y="4001728"/>
            <a:ext cx="2694915" cy="2110298"/>
            <a:chOff x="291615" y="4001728"/>
            <a:chExt cx="2694915" cy="2110298"/>
          </a:xfrm>
        </p:grpSpPr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74458" y="4001728"/>
              <a:ext cx="1780952" cy="866667"/>
            </a:xfrm>
            <a:prstGeom prst="rect">
              <a:avLst/>
            </a:prstGeom>
          </p:spPr>
        </p:pic>
        <p:sp>
          <p:nvSpPr>
            <p:cNvPr id="17" name="TextBox 16"/>
            <p:cNvSpPr txBox="1"/>
            <p:nvPr/>
          </p:nvSpPr>
          <p:spPr>
            <a:xfrm>
              <a:off x="291615" y="5004030"/>
              <a:ext cx="2694915" cy="11079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100" b="0" dirty="0" smtClean="0">
                  <a:solidFill>
                    <a:schemeClr val="tx1"/>
                  </a:solidFill>
                </a:rPr>
                <a:t>Допускает к закупкам поставщиков, готовых поставить только часть лота.</a:t>
              </a:r>
            </a:p>
            <a:p>
              <a:r>
                <a:rPr lang="ru-RU" sz="1100" b="0" dirty="0" smtClean="0">
                  <a:solidFill>
                    <a:schemeClr val="tx1"/>
                  </a:solidFill>
                </a:rPr>
                <a:t> </a:t>
              </a:r>
            </a:p>
            <a:p>
              <a:pPr algn="ctr"/>
              <a:r>
                <a:rPr lang="ru-RU" sz="1100" b="0" dirty="0" smtClean="0">
                  <a:solidFill>
                    <a:srgbClr val="FF0000"/>
                  </a:solidFill>
                </a:rPr>
                <a:t>Предложение поставщика может быть на часть позиций, но каждая позиция поставляется в полном объеме.</a:t>
              </a:r>
              <a:endParaRPr lang="ru-RU" sz="1100" b="0" dirty="0">
                <a:solidFill>
                  <a:srgbClr val="FF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28058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"/>
          <p:cNvSpPr>
            <a:spLocks noChangeArrowheads="1"/>
          </p:cNvSpPr>
          <p:nvPr/>
        </p:nvSpPr>
        <p:spPr bwMode="auto">
          <a:xfrm>
            <a:off x="1728589" y="0"/>
            <a:ext cx="7200800" cy="6156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89" b="0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89" b="0" i="0" u="none" strike="noStrike" kern="1200" cap="none" spc="0" normalizeH="0" baseline="0" noProof="0" dirty="0" smtClean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Закупочная процедура / Лоты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037" y="863823"/>
            <a:ext cx="10800000" cy="2037886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40958" y="2064514"/>
            <a:ext cx="2880320" cy="787712"/>
          </a:xfrm>
          <a:prstGeom prst="rect">
            <a:avLst/>
          </a:prstGeom>
        </p:spPr>
      </p:pic>
      <p:grpSp>
        <p:nvGrpSpPr>
          <p:cNvPr id="5" name="Группа 4"/>
          <p:cNvGrpSpPr/>
          <p:nvPr/>
        </p:nvGrpSpPr>
        <p:grpSpPr>
          <a:xfrm>
            <a:off x="7057181" y="2589630"/>
            <a:ext cx="287338" cy="287338"/>
            <a:chOff x="6176162" y="5681234"/>
            <a:chExt cx="287338" cy="287338"/>
          </a:xfrm>
        </p:grpSpPr>
        <p:pic>
          <p:nvPicPr>
            <p:cNvPr id="6" name="Рисунок 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19340">
              <a:off x="6176162" y="5681234"/>
              <a:ext cx="287338" cy="287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Равнобедренный треугольник 6"/>
            <p:cNvSpPr/>
            <p:nvPr/>
          </p:nvSpPr>
          <p:spPr>
            <a:xfrm rot="19500000">
              <a:off x="6260177" y="5758166"/>
              <a:ext cx="126000" cy="143853"/>
            </a:xfrm>
            <a:prstGeom prst="triangl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4" name="Рисунок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84479" y="2957792"/>
            <a:ext cx="5759242" cy="3438972"/>
          </a:xfrm>
          <a:prstGeom prst="rect">
            <a:avLst/>
          </a:prstGeom>
          <a:ln w="28575">
            <a:solidFill>
              <a:schemeClr val="dk1"/>
            </a:solidFill>
          </a:ln>
        </p:spPr>
      </p:pic>
      <p:sp>
        <p:nvSpPr>
          <p:cNvPr id="19" name="TextBox 18"/>
          <p:cNvSpPr txBox="1"/>
          <p:nvPr/>
        </p:nvSpPr>
        <p:spPr>
          <a:xfrm>
            <a:off x="562001" y="3024063"/>
            <a:ext cx="4104456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0" dirty="0" smtClean="0">
                <a:solidFill>
                  <a:schemeClr val="tx1"/>
                </a:solidFill>
              </a:rPr>
              <a:t>Настраиваем этапы и критерии бальной оценки предложений.</a:t>
            </a:r>
          </a:p>
          <a:p>
            <a:endParaRPr lang="ru-RU" sz="1100" b="0" dirty="0">
              <a:solidFill>
                <a:schemeClr val="tx1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100" b="0" dirty="0" smtClean="0">
                <a:solidFill>
                  <a:schemeClr val="tx1"/>
                </a:solidFill>
              </a:rPr>
              <a:t>Эксперты заполняются из «Приказ о назначении закупочной комиссии»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100" b="0" dirty="0" smtClean="0">
                <a:solidFill>
                  <a:schemeClr val="tx1"/>
                </a:solidFill>
              </a:rPr>
              <a:t>Один из </a:t>
            </a:r>
            <a:r>
              <a:rPr lang="ru-RU" sz="1100" b="0" dirty="0">
                <a:solidFill>
                  <a:schemeClr val="tx1"/>
                </a:solidFill>
              </a:rPr>
              <a:t>э</a:t>
            </a:r>
            <a:r>
              <a:rPr lang="ru-RU" sz="1100" b="0" dirty="0" smtClean="0">
                <a:solidFill>
                  <a:schemeClr val="tx1"/>
                </a:solidFill>
              </a:rPr>
              <a:t>кспертов должен иметь возможность закрывать этап оценки (принимает решение о выборе поставщика или переходе на следующий этап оценки)</a:t>
            </a:r>
            <a:endParaRPr lang="ru-RU" sz="1100" b="0" dirty="0">
              <a:solidFill>
                <a:srgbClr val="FF0000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2001" y="4470613"/>
            <a:ext cx="4437843" cy="1312058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562001" y="5917163"/>
            <a:ext cx="44069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0" dirty="0" smtClean="0">
                <a:solidFill>
                  <a:schemeClr val="tx1"/>
                </a:solidFill>
              </a:rPr>
              <a:t>Провести оценку можно в протоколе выбора победителя</a:t>
            </a:r>
            <a:endParaRPr lang="ru-RU" sz="1100" b="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8108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"/>
          <p:cNvSpPr>
            <a:spLocks noChangeArrowheads="1"/>
          </p:cNvSpPr>
          <p:nvPr/>
        </p:nvSpPr>
        <p:spPr bwMode="auto">
          <a:xfrm>
            <a:off x="1728589" y="0"/>
            <a:ext cx="7200800" cy="6156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89" b="0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889" b="0" dirty="0" smtClean="0">
                <a:solidFill>
                  <a:srgbClr val="808080">
                    <a:lumMod val="50000"/>
                  </a:srgbClr>
                </a:solidFill>
                <a:cs typeface="Arial" panose="020B0604020202020204" pitchFamily="34" charset="0"/>
              </a:rPr>
              <a:t>Предложения поставщиков</a:t>
            </a:r>
            <a:endParaRPr kumimoji="0" lang="ru-RU" sz="1889" b="0" i="0" u="none" strike="noStrike" kern="1200" cap="none" spc="0" normalizeH="0" baseline="0" noProof="0" dirty="0" smtClean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037" y="863823"/>
            <a:ext cx="10800000" cy="2037886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40958" y="2103589"/>
            <a:ext cx="3091307" cy="720000"/>
          </a:xfrm>
          <a:prstGeom prst="rect">
            <a:avLst/>
          </a:prstGeom>
        </p:spPr>
      </p:pic>
      <p:grpSp>
        <p:nvGrpSpPr>
          <p:cNvPr id="5" name="Группа 4"/>
          <p:cNvGrpSpPr/>
          <p:nvPr/>
        </p:nvGrpSpPr>
        <p:grpSpPr>
          <a:xfrm>
            <a:off x="7705253" y="2400422"/>
            <a:ext cx="287338" cy="287338"/>
            <a:chOff x="6176162" y="5681234"/>
            <a:chExt cx="287338" cy="287338"/>
          </a:xfrm>
        </p:grpSpPr>
        <p:pic>
          <p:nvPicPr>
            <p:cNvPr id="6" name="Рисунок 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19340">
              <a:off x="6176162" y="5681234"/>
              <a:ext cx="287338" cy="287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Равнобедренный треугольник 6"/>
            <p:cNvSpPr/>
            <p:nvPr/>
          </p:nvSpPr>
          <p:spPr>
            <a:xfrm rot="19500000">
              <a:off x="6260177" y="5758166"/>
              <a:ext cx="126000" cy="143853"/>
            </a:xfrm>
            <a:prstGeom prst="triangl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12" name="Рисунок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18449" y="3099541"/>
            <a:ext cx="6072366" cy="3024323"/>
          </a:xfrm>
          <a:prstGeom prst="rect">
            <a:avLst/>
          </a:prstGeom>
          <a:ln w="28575">
            <a:solidFill>
              <a:schemeClr val="dk1"/>
            </a:solidFill>
          </a:ln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843" y="3099541"/>
            <a:ext cx="5250981" cy="2156770"/>
          </a:xfrm>
          <a:prstGeom prst="rect">
            <a:avLst/>
          </a:prstGeom>
          <a:ln w="28575">
            <a:solidFill>
              <a:schemeClr val="dk1"/>
            </a:solidFill>
          </a:ln>
        </p:spPr>
      </p:pic>
      <p:sp>
        <p:nvSpPr>
          <p:cNvPr id="17" name="TextBox 16"/>
          <p:cNvSpPr txBox="1"/>
          <p:nvPr/>
        </p:nvSpPr>
        <p:spPr>
          <a:xfrm>
            <a:off x="164025" y="5328319"/>
            <a:ext cx="512279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0" dirty="0" smtClean="0">
                <a:solidFill>
                  <a:schemeClr val="tx1"/>
                </a:solidFill>
              </a:rPr>
              <a:t>В предложении поставщика для попозиционной закупки добавлена колонка «Не поставляется»</a:t>
            </a:r>
          </a:p>
          <a:p>
            <a:endParaRPr lang="ru-RU" sz="1200" b="0" dirty="0">
              <a:solidFill>
                <a:schemeClr val="tx1"/>
              </a:solidFill>
            </a:endParaRPr>
          </a:p>
          <a:p>
            <a:r>
              <a:rPr lang="ru-RU" sz="1200" b="0" dirty="0" smtClean="0">
                <a:solidFill>
                  <a:schemeClr val="tx1"/>
                </a:solidFill>
              </a:rPr>
              <a:t>Данные, доступные пользователю для редактирования, выделены </a:t>
            </a:r>
            <a:r>
              <a:rPr lang="ru-RU" sz="1200" b="0" dirty="0" smtClean="0">
                <a:solidFill>
                  <a:srgbClr val="00B050"/>
                </a:solidFill>
              </a:rPr>
              <a:t>зеленым цветом. </a:t>
            </a:r>
            <a:endParaRPr lang="ru-RU" sz="1200" b="0" dirty="0">
              <a:solidFill>
                <a:srgbClr val="00B050"/>
              </a:solidFill>
            </a:endParaRPr>
          </a:p>
        </p:txBody>
      </p:sp>
      <p:cxnSp>
        <p:nvCxnSpPr>
          <p:cNvPr id="16" name="Прямая со стрелкой 15"/>
          <p:cNvCxnSpPr/>
          <p:nvPr/>
        </p:nvCxnSpPr>
        <p:spPr bwMode="auto">
          <a:xfrm flipH="1" flipV="1">
            <a:off x="7345213" y="1439887"/>
            <a:ext cx="144016" cy="216024"/>
          </a:xfrm>
          <a:prstGeom prst="straightConnector1">
            <a:avLst/>
          </a:prstGeom>
          <a:ln w="28575">
            <a:solidFill>
              <a:srgbClr val="FC6E51"/>
            </a:solidFill>
            <a:tailEnd type="arrow"/>
          </a:ln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6684200" y="1637134"/>
            <a:ext cx="454977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0" dirty="0" smtClean="0">
                <a:solidFill>
                  <a:srgbClr val="FC6E51"/>
                </a:solidFill>
              </a:rPr>
              <a:t>Выход на протокол выбора и оценку предложений</a:t>
            </a:r>
            <a:endParaRPr lang="ru-RU" sz="1400" b="0" dirty="0">
              <a:solidFill>
                <a:srgbClr val="FC6E5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37927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"/>
          <p:cNvSpPr>
            <a:spLocks noChangeArrowheads="1"/>
          </p:cNvSpPr>
          <p:nvPr/>
        </p:nvSpPr>
        <p:spPr bwMode="auto">
          <a:xfrm>
            <a:off x="1728589" y="0"/>
            <a:ext cx="7200800" cy="6156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89" b="0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889" b="0" dirty="0" smtClean="0">
                <a:solidFill>
                  <a:srgbClr val="808080">
                    <a:lumMod val="50000"/>
                  </a:srgbClr>
                </a:solidFill>
                <a:cs typeface="Arial" panose="020B0604020202020204" pitchFamily="34" charset="0"/>
              </a:rPr>
              <a:t>Протокол выбора / Оценка предложений</a:t>
            </a:r>
            <a:endParaRPr kumimoji="0" lang="ru-RU" sz="1889" b="0" i="0" u="none" strike="noStrike" kern="1200" cap="none" spc="0" normalizeH="0" baseline="0" noProof="0" dirty="0" smtClean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037" y="1007839"/>
            <a:ext cx="10800000" cy="5094461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7211240" y="2520007"/>
            <a:ext cx="3492000" cy="648000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ru-RU" sz="1200" b="0" dirty="0" smtClean="0">
                <a:solidFill>
                  <a:schemeClr val="bg1"/>
                </a:solidFill>
              </a:rPr>
              <a:t>Верхняя таблица – предложения поставщиков</a:t>
            </a:r>
          </a:p>
          <a:p>
            <a:r>
              <a:rPr lang="ru-RU" sz="1200" b="0" dirty="0" smtClean="0">
                <a:solidFill>
                  <a:schemeClr val="bg1"/>
                </a:solidFill>
              </a:rPr>
              <a:t>Нижняя таблица – содержание предложения поставщика «Белый кит»</a:t>
            </a:r>
          </a:p>
          <a:p>
            <a:endParaRPr lang="ru-RU" sz="1200" b="0" dirty="0" smtClean="0">
              <a:solidFill>
                <a:schemeClr val="bg1"/>
              </a:solidFill>
            </a:endParaRPr>
          </a:p>
          <a:p>
            <a:r>
              <a:rPr lang="ru-RU" sz="1200" b="0" dirty="0" smtClean="0">
                <a:solidFill>
                  <a:schemeClr val="bg1"/>
                </a:solidFill>
              </a:rPr>
              <a:t> </a:t>
            </a:r>
            <a:endParaRPr lang="ru-RU" sz="12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8134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"/>
          <p:cNvSpPr>
            <a:spLocks noChangeArrowheads="1"/>
          </p:cNvSpPr>
          <p:nvPr/>
        </p:nvSpPr>
        <p:spPr bwMode="auto">
          <a:xfrm>
            <a:off x="1728589" y="0"/>
            <a:ext cx="7200800" cy="6156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89" b="0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889" b="0" dirty="0" smtClean="0">
                <a:solidFill>
                  <a:srgbClr val="808080">
                    <a:lumMod val="50000"/>
                  </a:srgbClr>
                </a:solidFill>
                <a:cs typeface="Arial" panose="020B0604020202020204" pitchFamily="34" charset="0"/>
              </a:rPr>
              <a:t>Протокол выбора / Оценка предложений</a:t>
            </a:r>
            <a:endParaRPr kumimoji="0" lang="ru-RU" sz="1889" b="0" i="0" u="none" strike="noStrike" kern="1200" cap="none" spc="0" normalizeH="0" baseline="0" noProof="0" dirty="0" smtClean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037" y="1007839"/>
            <a:ext cx="10800000" cy="5094461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7211240" y="2520007"/>
            <a:ext cx="3492000" cy="1015663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marL="228600" indent="-228600">
              <a:buAutoNum type="arabicParenR"/>
            </a:pPr>
            <a:r>
              <a:rPr lang="ru-RU" sz="1200" b="0" dirty="0" smtClean="0">
                <a:solidFill>
                  <a:schemeClr val="bg1"/>
                </a:solidFill>
              </a:rPr>
              <a:t>Эксперты вводят </a:t>
            </a:r>
            <a:r>
              <a:rPr lang="ru-RU" sz="1200" b="0" dirty="0" smtClean="0">
                <a:solidFill>
                  <a:schemeClr val="bg1"/>
                </a:solidFill>
              </a:rPr>
              <a:t>значения оценки</a:t>
            </a:r>
            <a:endParaRPr lang="ru-RU" sz="1200" b="0" dirty="0" smtClean="0">
              <a:solidFill>
                <a:schemeClr val="bg1"/>
              </a:solidFill>
            </a:endParaRPr>
          </a:p>
          <a:p>
            <a:pPr marL="228600" indent="-228600">
              <a:buAutoNum type="arabicParenR"/>
            </a:pPr>
            <a:r>
              <a:rPr lang="ru-RU" sz="1200" b="0" dirty="0" smtClean="0">
                <a:solidFill>
                  <a:schemeClr val="bg1"/>
                </a:solidFill>
              </a:rPr>
              <a:t>Ответственный принимает решение</a:t>
            </a:r>
          </a:p>
          <a:p>
            <a:pPr marL="228600" indent="-228600">
              <a:buAutoNum type="arabicParenR"/>
            </a:pPr>
            <a:r>
              <a:rPr lang="ru-RU" sz="1200" b="0" dirty="0" smtClean="0">
                <a:solidFill>
                  <a:schemeClr val="bg1"/>
                </a:solidFill>
              </a:rPr>
              <a:t>Результаты </a:t>
            </a:r>
            <a:r>
              <a:rPr lang="ru-RU" sz="1200" b="0" dirty="0" smtClean="0">
                <a:solidFill>
                  <a:schemeClr val="bg1"/>
                </a:solidFill>
              </a:rPr>
              <a:t>можно </a:t>
            </a:r>
            <a:r>
              <a:rPr lang="ru-RU" sz="1200" b="0" dirty="0" smtClean="0">
                <a:solidFill>
                  <a:schemeClr val="bg1"/>
                </a:solidFill>
              </a:rPr>
              <a:t>посмотреть отчетом Интегральная оценка</a:t>
            </a:r>
          </a:p>
          <a:p>
            <a:pPr marL="228600" indent="-228600">
              <a:buAutoNum type="arabicParenR"/>
            </a:pPr>
            <a:r>
              <a:rPr lang="ru-RU" sz="1200" b="0" dirty="0" smtClean="0">
                <a:solidFill>
                  <a:schemeClr val="bg1"/>
                </a:solidFill>
              </a:rPr>
              <a:t>Процесс можно </a:t>
            </a:r>
            <a:r>
              <a:rPr lang="ru-RU" sz="1200" b="0" dirty="0" err="1" smtClean="0">
                <a:solidFill>
                  <a:schemeClr val="bg1"/>
                </a:solidFill>
              </a:rPr>
              <a:t>рестартовать</a:t>
            </a:r>
            <a:endParaRPr lang="ru-RU" sz="1200" b="0" dirty="0">
              <a:solidFill>
                <a:schemeClr val="bg1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60146" y="2022093"/>
            <a:ext cx="2304000" cy="971801"/>
          </a:xfrm>
          <a:prstGeom prst="rect">
            <a:avLst/>
          </a:prstGeom>
        </p:spPr>
      </p:pic>
      <p:grpSp>
        <p:nvGrpSpPr>
          <p:cNvPr id="6" name="Группа 5"/>
          <p:cNvGrpSpPr/>
          <p:nvPr/>
        </p:nvGrpSpPr>
        <p:grpSpPr>
          <a:xfrm>
            <a:off x="4608909" y="2364324"/>
            <a:ext cx="287338" cy="287338"/>
            <a:chOff x="6176162" y="5681234"/>
            <a:chExt cx="287338" cy="287338"/>
          </a:xfrm>
        </p:grpSpPr>
        <p:pic>
          <p:nvPicPr>
            <p:cNvPr id="7" name="Рисунок 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19340">
              <a:off x="6176162" y="5681234"/>
              <a:ext cx="287338" cy="287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Равнобедренный треугольник 7"/>
            <p:cNvSpPr/>
            <p:nvPr/>
          </p:nvSpPr>
          <p:spPr>
            <a:xfrm rot="19500000">
              <a:off x="6260177" y="5758166"/>
              <a:ext cx="126000" cy="143853"/>
            </a:xfrm>
            <a:prstGeom prst="triangl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8530710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"/>
          <p:cNvSpPr>
            <a:spLocks noChangeArrowheads="1"/>
          </p:cNvSpPr>
          <p:nvPr/>
        </p:nvSpPr>
        <p:spPr bwMode="auto">
          <a:xfrm>
            <a:off x="1728589" y="0"/>
            <a:ext cx="7200800" cy="6156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89" b="0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889" dirty="0" smtClean="0">
                <a:solidFill>
                  <a:srgbClr val="808080">
                    <a:lumMod val="50000"/>
                  </a:srgbClr>
                </a:solidFill>
                <a:cs typeface="Arial" panose="020B0604020202020204" pitchFamily="34" charset="0"/>
              </a:rPr>
              <a:t>ШАГ 1 </a:t>
            </a:r>
            <a:r>
              <a:rPr lang="ru-RU" sz="1889" b="0" dirty="0" smtClean="0">
                <a:solidFill>
                  <a:srgbClr val="808080">
                    <a:lumMod val="50000"/>
                  </a:srgbClr>
                </a:solidFill>
                <a:cs typeface="Arial" panose="020B0604020202020204" pitchFamily="34" charset="0"/>
              </a:rPr>
              <a:t>Оценка экспертами предложений лота</a:t>
            </a:r>
            <a:endParaRPr kumimoji="0" lang="ru-RU" sz="1889" b="0" i="0" u="none" strike="noStrike" kern="1200" cap="none" spc="0" normalizeH="0" baseline="0" noProof="0" dirty="0" smtClean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429" y="1007839"/>
            <a:ext cx="10800000" cy="3961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128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"/>
          <p:cNvSpPr>
            <a:spLocks noChangeArrowheads="1"/>
          </p:cNvSpPr>
          <p:nvPr/>
        </p:nvSpPr>
        <p:spPr bwMode="auto">
          <a:xfrm>
            <a:off x="1728589" y="0"/>
            <a:ext cx="7200800" cy="6156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89" b="0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889" b="0" dirty="0" smtClean="0">
                <a:solidFill>
                  <a:srgbClr val="808080">
                    <a:lumMod val="50000"/>
                  </a:srgbClr>
                </a:solidFill>
                <a:cs typeface="Arial" panose="020B0604020202020204" pitchFamily="34" charset="0"/>
              </a:rPr>
              <a:t>Эксперт проводит оценку предложений лота</a:t>
            </a:r>
            <a:endParaRPr kumimoji="0" lang="ru-RU" sz="1889" b="0" i="0" u="none" strike="noStrike" kern="1200" cap="none" spc="0" normalizeH="0" baseline="0" noProof="0" dirty="0" smtClean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429" y="1007839"/>
            <a:ext cx="7992162" cy="470220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8569349" y="1943943"/>
            <a:ext cx="2736304" cy="175432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200" b="0" dirty="0" smtClean="0">
                <a:solidFill>
                  <a:schemeClr val="tx1"/>
                </a:solidFill>
              </a:rPr>
              <a:t>Отчет показывает как эксперты оценили предложения, какие предложения оценены, какие предложения набрали наибольшие баллы.</a:t>
            </a:r>
          </a:p>
          <a:p>
            <a:endParaRPr lang="ru-RU" sz="1200" b="0" dirty="0">
              <a:solidFill>
                <a:schemeClr val="tx1"/>
              </a:solidFill>
            </a:endParaRPr>
          </a:p>
          <a:p>
            <a:r>
              <a:rPr lang="ru-RU" sz="1200" b="0" dirty="0" smtClean="0">
                <a:solidFill>
                  <a:schemeClr val="tx1"/>
                </a:solidFill>
              </a:rPr>
              <a:t>Красной рамкой выделен</a:t>
            </a:r>
            <a:r>
              <a:rPr lang="ru-RU" sz="1200" b="0" dirty="0">
                <a:solidFill>
                  <a:schemeClr val="tx1"/>
                </a:solidFill>
              </a:rPr>
              <a:t>ы</a:t>
            </a:r>
            <a:r>
              <a:rPr lang="ru-RU" sz="1200" b="0" dirty="0" smtClean="0">
                <a:solidFill>
                  <a:schemeClr val="tx1"/>
                </a:solidFill>
              </a:rPr>
              <a:t> три предложения с баллами более </a:t>
            </a:r>
            <a:r>
              <a:rPr lang="en-US" sz="1200" b="0" dirty="0" smtClean="0">
                <a:solidFill>
                  <a:schemeClr val="tx1"/>
                </a:solidFill>
              </a:rPr>
              <a:t>[</a:t>
            </a:r>
            <a:r>
              <a:rPr lang="ru-RU" sz="1200" b="0" dirty="0" smtClean="0">
                <a:solidFill>
                  <a:schemeClr val="tx1"/>
                </a:solidFill>
              </a:rPr>
              <a:t>2</a:t>
            </a:r>
            <a:r>
              <a:rPr lang="en-US" sz="1200" b="0" dirty="0" smtClean="0">
                <a:solidFill>
                  <a:schemeClr val="tx1"/>
                </a:solidFill>
              </a:rPr>
              <a:t>].</a:t>
            </a:r>
            <a:endParaRPr lang="ru-RU" sz="1200" b="0" dirty="0" smtClean="0">
              <a:solidFill>
                <a:schemeClr val="tx1"/>
              </a:solidFill>
            </a:endParaRPr>
          </a:p>
          <a:p>
            <a:r>
              <a:rPr lang="ru-RU" sz="1200" b="0" dirty="0" smtClean="0">
                <a:solidFill>
                  <a:schemeClr val="tx1"/>
                </a:solidFill>
              </a:rPr>
              <a:t> </a:t>
            </a:r>
            <a:endParaRPr lang="ru-RU" sz="12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5751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"/>
          <p:cNvSpPr>
            <a:spLocks noChangeArrowheads="1"/>
          </p:cNvSpPr>
          <p:nvPr/>
        </p:nvSpPr>
        <p:spPr bwMode="auto">
          <a:xfrm>
            <a:off x="1728589" y="0"/>
            <a:ext cx="7200800" cy="8773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89" b="0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 algn="ctr">
              <a:lnSpc>
                <a:spcPct val="90000"/>
              </a:lnSpc>
              <a:defRPr/>
            </a:pPr>
            <a:r>
              <a:rPr lang="ru-RU" sz="1889" dirty="0">
                <a:solidFill>
                  <a:srgbClr val="808080">
                    <a:lumMod val="50000"/>
                  </a:srgbClr>
                </a:solidFill>
                <a:cs typeface="Arial" panose="020B0604020202020204" pitchFamily="34" charset="0"/>
              </a:rPr>
              <a:t>ШАГ </a:t>
            </a:r>
            <a:r>
              <a:rPr lang="ru-RU" sz="1889" dirty="0" smtClean="0">
                <a:solidFill>
                  <a:srgbClr val="808080">
                    <a:lumMod val="50000"/>
                  </a:srgbClr>
                </a:solidFill>
                <a:cs typeface="Arial" panose="020B0604020202020204" pitchFamily="34" charset="0"/>
              </a:rPr>
              <a:t>2 </a:t>
            </a:r>
            <a:r>
              <a:rPr lang="ru-RU" sz="1889" b="0" dirty="0" smtClean="0">
                <a:solidFill>
                  <a:srgbClr val="808080">
                    <a:lumMod val="50000"/>
                  </a:srgbClr>
                </a:solidFill>
                <a:cs typeface="Arial" panose="020B0604020202020204" pitchFamily="34" charset="0"/>
              </a:rPr>
              <a:t>Завершение оценки. Выбрано три лучших поставщика, соответствующих критериям. </a:t>
            </a:r>
            <a:endParaRPr kumimoji="0" lang="ru-RU" sz="1889" b="0" i="0" u="none" strike="noStrike" kern="1200" cap="none" spc="0" normalizeH="0" baseline="0" noProof="0" dirty="0" smtClean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84846" y="1301992"/>
            <a:ext cx="8152381" cy="3876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2066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"/>
          <p:cNvSpPr>
            <a:spLocks noChangeArrowheads="1"/>
          </p:cNvSpPr>
          <p:nvPr/>
        </p:nvSpPr>
        <p:spPr bwMode="auto">
          <a:xfrm>
            <a:off x="1728589" y="0"/>
            <a:ext cx="7200800" cy="6156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89" b="0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889" b="0" dirty="0" smtClean="0">
                <a:solidFill>
                  <a:srgbClr val="808080">
                    <a:lumMod val="50000"/>
                  </a:srgbClr>
                </a:solidFill>
                <a:cs typeface="Arial" panose="020B0604020202020204" pitchFamily="34" charset="0"/>
              </a:rPr>
              <a:t>Протокол после 2 шага</a:t>
            </a:r>
            <a:endParaRPr kumimoji="0" lang="ru-RU" sz="1889" b="0" i="0" u="none" strike="noStrike" kern="1200" cap="none" spc="0" normalizeH="0" baseline="0" noProof="0" dirty="0" smtClean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2445" y="1151855"/>
            <a:ext cx="10800000" cy="5190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846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"/>
          <p:cNvSpPr>
            <a:spLocks noChangeArrowheads="1"/>
          </p:cNvSpPr>
          <p:nvPr/>
        </p:nvSpPr>
        <p:spPr bwMode="auto">
          <a:xfrm>
            <a:off x="1728589" y="0"/>
            <a:ext cx="7200800" cy="6156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89" b="0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 algn="ctr">
              <a:lnSpc>
                <a:spcPct val="90000"/>
              </a:lnSpc>
              <a:defRPr/>
            </a:pPr>
            <a:r>
              <a:rPr lang="ru-RU" sz="1889" dirty="0">
                <a:solidFill>
                  <a:srgbClr val="808080">
                    <a:lumMod val="50000"/>
                  </a:srgbClr>
                </a:solidFill>
                <a:cs typeface="Arial" panose="020B0604020202020204" pitchFamily="34" charset="0"/>
              </a:rPr>
              <a:t>ШАГ 3</a:t>
            </a:r>
            <a:r>
              <a:rPr lang="ru-RU" sz="1889" b="0" noProof="0" dirty="0" smtClean="0">
                <a:solidFill>
                  <a:srgbClr val="808080">
                    <a:lumMod val="50000"/>
                  </a:srgbClr>
                </a:solidFill>
                <a:cs typeface="Arial" panose="020B0604020202020204" pitchFamily="34" charset="0"/>
              </a:rPr>
              <a:t> </a:t>
            </a:r>
            <a:r>
              <a:rPr lang="ru-RU" sz="1889" b="0" dirty="0" smtClean="0">
                <a:solidFill>
                  <a:srgbClr val="808080">
                    <a:lumMod val="50000"/>
                  </a:srgbClr>
                </a:solidFill>
                <a:cs typeface="Arial" panose="020B0604020202020204" pitchFamily="34" charset="0"/>
              </a:rPr>
              <a:t>Р</a:t>
            </a:r>
            <a:r>
              <a:rPr lang="ru-RU" sz="1889" b="0" noProof="0" dirty="0" err="1" smtClean="0">
                <a:solidFill>
                  <a:srgbClr val="808080">
                    <a:lumMod val="50000"/>
                  </a:srgbClr>
                </a:solidFill>
                <a:cs typeface="Arial" panose="020B0604020202020204" pitchFamily="34" charset="0"/>
              </a:rPr>
              <a:t>аспределение</a:t>
            </a:r>
            <a:r>
              <a:rPr lang="ru-RU" sz="1889" b="0" noProof="0" dirty="0" smtClean="0">
                <a:solidFill>
                  <a:srgbClr val="808080">
                    <a:lumMod val="50000"/>
                  </a:srgbClr>
                </a:solidFill>
                <a:cs typeface="Arial" panose="020B0604020202020204" pitchFamily="34" charset="0"/>
              </a:rPr>
              <a:t> позиций по победителям</a:t>
            </a:r>
            <a:endParaRPr kumimoji="0" lang="ru-RU" sz="1889" b="0" i="0" u="none" strike="noStrike" kern="1200" cap="none" spc="0" normalizeH="0" baseline="0" noProof="0" dirty="0" smtClean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2445" y="1151855"/>
            <a:ext cx="10800000" cy="5190346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8962" y="2385478"/>
            <a:ext cx="4294325" cy="1422000"/>
          </a:xfrm>
          <a:prstGeom prst="rect">
            <a:avLst/>
          </a:prstGeom>
        </p:spPr>
      </p:pic>
      <p:grpSp>
        <p:nvGrpSpPr>
          <p:cNvPr id="5" name="Группа 4"/>
          <p:cNvGrpSpPr/>
          <p:nvPr/>
        </p:nvGrpSpPr>
        <p:grpSpPr>
          <a:xfrm>
            <a:off x="5555763" y="2952809"/>
            <a:ext cx="287338" cy="287338"/>
            <a:chOff x="6176162" y="5681234"/>
            <a:chExt cx="287338" cy="287338"/>
          </a:xfrm>
        </p:grpSpPr>
        <p:pic>
          <p:nvPicPr>
            <p:cNvPr id="6" name="Рисунок 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19340">
              <a:off x="6176162" y="5681234"/>
              <a:ext cx="287338" cy="287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Равнобедренный треугольник 6"/>
            <p:cNvSpPr/>
            <p:nvPr/>
          </p:nvSpPr>
          <p:spPr>
            <a:xfrm rot="19500000">
              <a:off x="6260177" y="5758166"/>
              <a:ext cx="126000" cy="143853"/>
            </a:xfrm>
            <a:prstGeom prst="triangl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39363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081927" y="1223863"/>
            <a:ext cx="513281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4800" b="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Оценка по ценам</a:t>
            </a:r>
            <a:endParaRPr lang="ru-RU" sz="4800" b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7" name="Овал 6"/>
          <p:cNvSpPr/>
          <p:nvPr/>
        </p:nvSpPr>
        <p:spPr bwMode="auto">
          <a:xfrm>
            <a:off x="4680917" y="2306007"/>
            <a:ext cx="1800000" cy="1800000"/>
          </a:xfrm>
          <a:prstGeom prst="ellipse">
            <a:avLst/>
          </a:prstGeom>
          <a:solidFill>
            <a:srgbClr val="92D050">
              <a:alpha val="50000"/>
            </a:srgbClr>
          </a:solidFill>
          <a:ln>
            <a:noFill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R="0" algn="ctr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tabLst/>
            </a:pPr>
            <a:r>
              <a:rPr kumimoji="0" lang="ru-R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Отличные цены</a:t>
            </a:r>
          </a:p>
        </p:txBody>
      </p:sp>
      <p:sp>
        <p:nvSpPr>
          <p:cNvPr id="8" name="Овал 7"/>
          <p:cNvSpPr/>
          <p:nvPr/>
        </p:nvSpPr>
        <p:spPr bwMode="auto">
          <a:xfrm>
            <a:off x="3037001" y="3294550"/>
            <a:ext cx="1800000" cy="1800000"/>
          </a:xfrm>
          <a:prstGeom prst="ellipse">
            <a:avLst/>
          </a:prstGeom>
          <a:solidFill>
            <a:srgbClr val="00B050">
              <a:alpha val="50000"/>
            </a:srgbClr>
          </a:solidFill>
          <a:ln>
            <a:noFill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R="0" algn="ctr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tabLst/>
            </a:pPr>
            <a:r>
              <a:rPr kumimoji="0" lang="ru-RU" sz="21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Дешево</a:t>
            </a:r>
          </a:p>
        </p:txBody>
      </p:sp>
      <p:sp>
        <p:nvSpPr>
          <p:cNvPr id="9" name="Овал 8"/>
          <p:cNvSpPr/>
          <p:nvPr/>
        </p:nvSpPr>
        <p:spPr bwMode="auto">
          <a:xfrm>
            <a:off x="6337301" y="3294550"/>
            <a:ext cx="1800000" cy="1800000"/>
          </a:xfrm>
          <a:prstGeom prst="ellipse">
            <a:avLst/>
          </a:prstGeom>
          <a:solidFill>
            <a:srgbClr val="FFFF00">
              <a:alpha val="50000"/>
            </a:srgbClr>
          </a:solidFill>
          <a:ln>
            <a:noFill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R="0" algn="ctr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tabLst/>
            </a:pPr>
            <a:r>
              <a:rPr kumimoji="0" lang="ru-R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Дорого</a:t>
            </a:r>
          </a:p>
        </p:txBody>
      </p:sp>
      <p:sp>
        <p:nvSpPr>
          <p:cNvPr id="10" name="Овал 9"/>
          <p:cNvSpPr/>
          <p:nvPr/>
        </p:nvSpPr>
        <p:spPr bwMode="auto">
          <a:xfrm>
            <a:off x="4725351" y="4221528"/>
            <a:ext cx="1800000" cy="1800000"/>
          </a:xfrm>
          <a:prstGeom prst="ellipse">
            <a:avLst/>
          </a:prstGeom>
          <a:solidFill>
            <a:srgbClr val="FC6E51">
              <a:alpha val="50000"/>
            </a:srgbClr>
          </a:solidFill>
          <a:ln>
            <a:noFill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R="0" algn="ctr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tabLst/>
            </a:pPr>
            <a:r>
              <a:rPr kumimoji="0" lang="ru-R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Очень</a:t>
            </a:r>
            <a:r>
              <a:rPr kumimoji="0" lang="ru-RU" sz="18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д</a:t>
            </a:r>
            <a:r>
              <a:rPr kumimoji="0" lang="ru-R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орого</a:t>
            </a:r>
          </a:p>
        </p:txBody>
      </p:sp>
    </p:spTree>
    <p:extLst>
      <p:ext uri="{BB962C8B-B14F-4D97-AF65-F5344CB8AC3E}">
        <p14:creationId xmlns:p14="http://schemas.microsoft.com/office/powerpoint/2010/main" val="2986556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"/>
          <p:cNvSpPr>
            <a:spLocks noChangeArrowheads="1"/>
          </p:cNvSpPr>
          <p:nvPr/>
        </p:nvSpPr>
        <p:spPr bwMode="auto">
          <a:xfrm>
            <a:off x="1728589" y="0"/>
            <a:ext cx="7200800" cy="6156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89" b="0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 algn="ctr">
              <a:lnSpc>
                <a:spcPct val="90000"/>
              </a:lnSpc>
              <a:defRPr/>
            </a:pPr>
            <a:r>
              <a:rPr lang="ru-RU" sz="1889" dirty="0">
                <a:solidFill>
                  <a:srgbClr val="808080">
                    <a:lumMod val="50000"/>
                  </a:srgbClr>
                </a:solidFill>
                <a:cs typeface="Arial" panose="020B0604020202020204" pitchFamily="34" charset="0"/>
              </a:rPr>
              <a:t>ШАГ 3</a:t>
            </a:r>
            <a:r>
              <a:rPr lang="ru-RU" sz="1889" b="0" noProof="0" dirty="0" smtClean="0">
                <a:solidFill>
                  <a:srgbClr val="808080">
                    <a:lumMod val="50000"/>
                  </a:srgbClr>
                </a:solidFill>
                <a:cs typeface="Arial" panose="020B0604020202020204" pitchFamily="34" charset="0"/>
              </a:rPr>
              <a:t> </a:t>
            </a:r>
            <a:r>
              <a:rPr lang="ru-RU" sz="1889" b="0" dirty="0" smtClean="0">
                <a:solidFill>
                  <a:srgbClr val="808080">
                    <a:lumMod val="50000"/>
                  </a:srgbClr>
                </a:solidFill>
                <a:cs typeface="Arial" panose="020B0604020202020204" pitchFamily="34" charset="0"/>
              </a:rPr>
              <a:t>Р</a:t>
            </a:r>
            <a:r>
              <a:rPr lang="ru-RU" sz="1889" b="0" noProof="0" dirty="0" err="1" smtClean="0">
                <a:solidFill>
                  <a:srgbClr val="808080">
                    <a:lumMod val="50000"/>
                  </a:srgbClr>
                </a:solidFill>
                <a:cs typeface="Arial" panose="020B0604020202020204" pitchFamily="34" charset="0"/>
              </a:rPr>
              <a:t>аспределение</a:t>
            </a:r>
            <a:r>
              <a:rPr lang="ru-RU" sz="1889" b="0" noProof="0" dirty="0" smtClean="0">
                <a:solidFill>
                  <a:srgbClr val="808080">
                    <a:lumMod val="50000"/>
                  </a:srgbClr>
                </a:solidFill>
                <a:cs typeface="Arial" panose="020B0604020202020204" pitchFamily="34" charset="0"/>
              </a:rPr>
              <a:t> позиций по победителям</a:t>
            </a:r>
            <a:endParaRPr kumimoji="0" lang="ru-RU" sz="1889" b="0" i="0" u="none" strike="noStrike" kern="1200" cap="none" spc="0" normalizeH="0" baseline="0" noProof="0" dirty="0" smtClean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14542" y="4987150"/>
            <a:ext cx="10746495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0" dirty="0" smtClean="0">
                <a:solidFill>
                  <a:schemeClr val="tx1"/>
                </a:solidFill>
              </a:rPr>
              <a:t>Мы видим ценовые предложения поставщиков по каждой позиции. Рядом с поставщиками результат интегральной оценки.  </a:t>
            </a:r>
            <a:endParaRPr lang="ru-RU" sz="1100" b="0" dirty="0">
              <a:solidFill>
                <a:schemeClr val="tx1"/>
              </a:solidFill>
            </a:endParaRPr>
          </a:p>
          <a:p>
            <a:endParaRPr lang="ru-RU" sz="1100" b="0" dirty="0" smtClean="0">
              <a:solidFill>
                <a:schemeClr val="tx1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100" b="0" dirty="0" smtClean="0">
                <a:solidFill>
                  <a:schemeClr val="tx1"/>
                </a:solidFill>
              </a:rPr>
              <a:t>В командной панели кнопки, помогающие одним кликом выбрать оптимальное предложение или предложения с минимальными ценами.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100" b="0" dirty="0" smtClean="0">
                <a:solidFill>
                  <a:schemeClr val="tx1"/>
                </a:solidFill>
              </a:rPr>
              <a:t>Пользователь, ориентируясь на интегральную оценку и стоимостные критерии может самостоятельно принять решение, переставив флажки.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100" b="0" dirty="0" smtClean="0">
                <a:solidFill>
                  <a:schemeClr val="tx1"/>
                </a:solidFill>
              </a:rPr>
              <a:t>Контролируется, чтобы на каждую позицию был назначен поставщик и все выбранные поставщики были задействованы. </a:t>
            </a:r>
            <a:r>
              <a:rPr lang="ru-RU" sz="1100" b="0" dirty="0" smtClean="0">
                <a:solidFill>
                  <a:schemeClr val="tx1"/>
                </a:solidFill>
              </a:rPr>
              <a:t>Если </a:t>
            </a:r>
            <a:r>
              <a:rPr lang="ru-RU" sz="1100" b="0" dirty="0" smtClean="0">
                <a:solidFill>
                  <a:schemeClr val="tx1"/>
                </a:solidFill>
              </a:rPr>
              <a:t>решено разделить номенклатуру между поставщиками (выделено два и более флажка по позиции), то доступна кнопка «Распределить номенклатуру по поставщикам».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100" b="0" dirty="0" smtClean="0">
                <a:solidFill>
                  <a:schemeClr val="tx1"/>
                </a:solidFill>
              </a:rPr>
              <a:t>Для участников 223-ФЗ распределение позиции между несколькими поставщиками запрещено.</a:t>
            </a:r>
            <a:endParaRPr lang="ru-RU" sz="1100" b="0" dirty="0">
              <a:solidFill>
                <a:srgbClr val="FF0000"/>
              </a:solidFill>
            </a:endParaRPr>
          </a:p>
        </p:txBody>
      </p:sp>
      <p:cxnSp>
        <p:nvCxnSpPr>
          <p:cNvPr id="10" name="Прямая соединительная линия 9"/>
          <p:cNvCxnSpPr/>
          <p:nvPr/>
        </p:nvCxnSpPr>
        <p:spPr bwMode="auto">
          <a:xfrm>
            <a:off x="432445" y="4896271"/>
            <a:ext cx="10728592" cy="0"/>
          </a:xfrm>
          <a:prstGeom prst="line">
            <a:avLst/>
          </a:prstGeom>
          <a:ln w="38100"/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8" name="Рисунок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6501" y="792508"/>
            <a:ext cx="9000000" cy="39280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909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"/>
          <p:cNvSpPr>
            <a:spLocks noChangeArrowheads="1"/>
          </p:cNvSpPr>
          <p:nvPr/>
        </p:nvSpPr>
        <p:spPr bwMode="auto">
          <a:xfrm>
            <a:off x="1728589" y="0"/>
            <a:ext cx="7200800" cy="6156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89" b="0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 algn="ctr">
              <a:lnSpc>
                <a:spcPct val="90000"/>
              </a:lnSpc>
              <a:defRPr/>
            </a:pPr>
            <a:r>
              <a:rPr lang="ru-RU" sz="1889" b="0" dirty="0" smtClean="0">
                <a:solidFill>
                  <a:srgbClr val="808080">
                    <a:lumMod val="50000"/>
                  </a:srgbClr>
                </a:solidFill>
                <a:cs typeface="Arial" panose="020B0604020202020204" pitchFamily="34" charset="0"/>
              </a:rPr>
              <a:t>Протокол после </a:t>
            </a:r>
            <a:r>
              <a:rPr lang="ru-RU" sz="1889" dirty="0" smtClean="0">
                <a:solidFill>
                  <a:srgbClr val="808080">
                    <a:lumMod val="50000"/>
                  </a:srgbClr>
                </a:solidFill>
                <a:cs typeface="Arial" panose="020B0604020202020204" pitchFamily="34" charset="0"/>
              </a:rPr>
              <a:t>ШАГ 3</a:t>
            </a:r>
            <a:endParaRPr kumimoji="0" lang="ru-RU" sz="1889" b="0" i="0" u="none" strike="noStrike" kern="1200" cap="none" spc="0" normalizeH="0" baseline="0" noProof="0" dirty="0" smtClean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0437" y="1110773"/>
            <a:ext cx="10800000" cy="3209434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414542" y="4987150"/>
            <a:ext cx="10746495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0" dirty="0" smtClean="0">
                <a:solidFill>
                  <a:schemeClr val="tx1"/>
                </a:solidFill>
              </a:rPr>
              <a:t>Мы видим ценовые предложения поставщиков по каждой позиции. Рядом с поставщиками результат интегральной оценки.  </a:t>
            </a:r>
            <a:endParaRPr lang="ru-RU" sz="1100" b="0" dirty="0">
              <a:solidFill>
                <a:schemeClr val="tx1"/>
              </a:solidFill>
            </a:endParaRPr>
          </a:p>
          <a:p>
            <a:endParaRPr lang="ru-RU" sz="1100" b="0" dirty="0" smtClean="0">
              <a:solidFill>
                <a:schemeClr val="tx1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100" b="0" dirty="0" smtClean="0">
                <a:solidFill>
                  <a:schemeClr val="tx1"/>
                </a:solidFill>
              </a:rPr>
              <a:t>В командной панели кнопка «Показывать суммы</a:t>
            </a:r>
            <a:r>
              <a:rPr lang="ru-RU" sz="1100" b="0" dirty="0" smtClean="0">
                <a:solidFill>
                  <a:schemeClr val="tx1"/>
                </a:solidFill>
              </a:rPr>
              <a:t>». Она имеет важное значение </a:t>
            </a:r>
            <a:r>
              <a:rPr lang="ru-RU" sz="1100" b="0" dirty="0" smtClean="0">
                <a:solidFill>
                  <a:schemeClr val="tx1"/>
                </a:solidFill>
              </a:rPr>
              <a:t>для </a:t>
            </a:r>
            <a:r>
              <a:rPr lang="ru-RU" sz="1100" b="0" dirty="0" smtClean="0">
                <a:solidFill>
                  <a:schemeClr val="tx1"/>
                </a:solidFill>
              </a:rPr>
              <a:t>товарных категорий. </a:t>
            </a:r>
            <a:r>
              <a:rPr lang="ru-RU" sz="1100" b="0" dirty="0" smtClean="0">
                <a:solidFill>
                  <a:schemeClr val="tx1"/>
                </a:solidFill>
              </a:rPr>
              <a:t>Для номенклатуры суммы удобнее отключить.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100" b="0" dirty="0" smtClean="0">
                <a:solidFill>
                  <a:schemeClr val="tx1"/>
                </a:solidFill>
              </a:rPr>
              <a:t>В верхней таблице итоговое значение распределяемой позиции. Задача пользователя, редактируя нижнюю </a:t>
            </a:r>
            <a:r>
              <a:rPr lang="ru-RU" sz="1100" b="0" dirty="0" smtClean="0">
                <a:solidFill>
                  <a:schemeClr val="tx1"/>
                </a:solidFill>
              </a:rPr>
              <a:t>часть, </a:t>
            </a:r>
            <a:r>
              <a:rPr lang="ru-RU" sz="1100" b="0" dirty="0" smtClean="0">
                <a:solidFill>
                  <a:schemeClr val="tx1"/>
                </a:solidFill>
              </a:rPr>
              <a:t>полностью распределить позицию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100" b="0" dirty="0" smtClean="0">
                <a:solidFill>
                  <a:srgbClr val="00B050"/>
                </a:solidFill>
              </a:rPr>
              <a:t>Зеленым цветом</a:t>
            </a:r>
            <a:r>
              <a:rPr lang="ru-RU" sz="1100" b="0" dirty="0" smtClean="0">
                <a:solidFill>
                  <a:schemeClr val="tx1"/>
                </a:solidFill>
              </a:rPr>
              <a:t> выделены редактируемые ячейки. Пользователь распределяет номенклатуру между поставщиками по периодам без остатка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100" b="0" dirty="0" smtClean="0">
                <a:solidFill>
                  <a:schemeClr val="tx1"/>
                </a:solidFill>
              </a:rPr>
              <a:t>Не забудьте записать распределение. </a:t>
            </a:r>
            <a:endParaRPr lang="ru-RU" sz="1100" b="0" dirty="0">
              <a:solidFill>
                <a:srgbClr val="FF0000"/>
              </a:solidFill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 bwMode="auto">
          <a:xfrm>
            <a:off x="432445" y="4896271"/>
            <a:ext cx="10728592" cy="0"/>
          </a:xfrm>
          <a:prstGeom prst="line">
            <a:avLst/>
          </a:prstGeom>
          <a:ln w="38100"/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1035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"/>
          <p:cNvSpPr>
            <a:spLocks noChangeArrowheads="1"/>
          </p:cNvSpPr>
          <p:nvPr/>
        </p:nvSpPr>
        <p:spPr bwMode="auto">
          <a:xfrm>
            <a:off x="1728589" y="0"/>
            <a:ext cx="7200800" cy="8773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89" b="0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 algn="ctr">
              <a:lnSpc>
                <a:spcPct val="90000"/>
              </a:lnSpc>
              <a:defRPr/>
            </a:pPr>
            <a:r>
              <a:rPr lang="ru-RU" sz="1889" b="0" dirty="0" smtClean="0">
                <a:solidFill>
                  <a:srgbClr val="808080">
                    <a:lumMod val="50000"/>
                  </a:srgbClr>
                </a:solidFill>
                <a:cs typeface="Arial" panose="020B0604020202020204" pitchFamily="34" charset="0"/>
              </a:rPr>
              <a:t>Детальную информацию по оценке посмотреть в печатной форме протокола</a:t>
            </a:r>
            <a:endParaRPr kumimoji="0" lang="ru-RU" sz="1889" b="0" i="0" u="none" strike="noStrike" kern="1200" cap="none" spc="0" normalizeH="0" baseline="0" noProof="0" dirty="0" smtClean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724" y="1223863"/>
            <a:ext cx="5236526" cy="4568278"/>
          </a:xfrm>
          <a:prstGeom prst="rect">
            <a:avLst/>
          </a:prstGeom>
          <a:effectLst>
            <a:outerShdw blurRad="127000" dist="50800" dir="5400000" algn="ctr" rotWithShape="0">
              <a:srgbClr val="000000">
                <a:alpha val="43137"/>
              </a:srgb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61037" y="1196323"/>
            <a:ext cx="5236526" cy="3376716"/>
          </a:xfrm>
          <a:prstGeom prst="rect">
            <a:avLst/>
          </a:prstGeom>
          <a:effectLst>
            <a:outerShdw blurRad="127000" dist="50800" dir="5400000" algn="ctr" rotWithShape="0">
              <a:srgbClr val="000000">
                <a:alpha val="43137"/>
              </a:srgbClr>
            </a:outerShdw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80917" y="3960167"/>
            <a:ext cx="5236526" cy="2393189"/>
          </a:xfrm>
          <a:prstGeom prst="rect">
            <a:avLst/>
          </a:prstGeom>
          <a:effectLst>
            <a:outerShdw blurRad="127000" dist="50800" dir="5400000" algn="ctr" rotWithShape="0">
              <a:srgbClr val="000000">
                <a:alpha val="43137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046047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олилиния 10"/>
          <p:cNvSpPr/>
          <p:nvPr/>
        </p:nvSpPr>
        <p:spPr bwMode="auto">
          <a:xfrm>
            <a:off x="288429" y="1982912"/>
            <a:ext cx="1726266" cy="390647"/>
          </a:xfrm>
          <a:custGeom>
            <a:avLst/>
            <a:gdLst>
              <a:gd name="connsiteX0" fmla="*/ 123325 w 1726266"/>
              <a:gd name="connsiteY0" fmla="*/ 71919 h 390647"/>
              <a:gd name="connsiteX1" fmla="*/ 441824 w 1726266"/>
              <a:gd name="connsiteY1" fmla="*/ 61645 h 390647"/>
              <a:gd name="connsiteX2" fmla="*/ 616484 w 1726266"/>
              <a:gd name="connsiteY2" fmla="*/ 41096 h 390647"/>
              <a:gd name="connsiteX3" fmla="*/ 1027451 w 1726266"/>
              <a:gd name="connsiteY3" fmla="*/ 30822 h 390647"/>
              <a:gd name="connsiteX4" fmla="*/ 1387046 w 1726266"/>
              <a:gd name="connsiteY4" fmla="*/ 10274 h 390647"/>
              <a:gd name="connsiteX5" fmla="*/ 1592529 w 1726266"/>
              <a:gd name="connsiteY5" fmla="*/ 0 h 390647"/>
              <a:gd name="connsiteX6" fmla="*/ 1633626 w 1726266"/>
              <a:gd name="connsiteY6" fmla="*/ 10274 h 390647"/>
              <a:gd name="connsiteX7" fmla="*/ 1592529 w 1726266"/>
              <a:gd name="connsiteY7" fmla="*/ 51370 h 390647"/>
              <a:gd name="connsiteX8" fmla="*/ 1571981 w 1726266"/>
              <a:gd name="connsiteY8" fmla="*/ 82193 h 390647"/>
              <a:gd name="connsiteX9" fmla="*/ 1500062 w 1726266"/>
              <a:gd name="connsiteY9" fmla="*/ 123290 h 390647"/>
              <a:gd name="connsiteX10" fmla="*/ 1613078 w 1726266"/>
              <a:gd name="connsiteY10" fmla="*/ 195209 h 390647"/>
              <a:gd name="connsiteX11" fmla="*/ 1695271 w 1726266"/>
              <a:gd name="connsiteY11" fmla="*/ 215757 h 390647"/>
              <a:gd name="connsiteX12" fmla="*/ 1726093 w 1726266"/>
              <a:gd name="connsiteY12" fmla="*/ 246579 h 390647"/>
              <a:gd name="connsiteX13" fmla="*/ 1643900 w 1726266"/>
              <a:gd name="connsiteY13" fmla="*/ 297950 h 390647"/>
              <a:gd name="connsiteX14" fmla="*/ 1602803 w 1726266"/>
              <a:gd name="connsiteY14" fmla="*/ 328773 h 390647"/>
              <a:gd name="connsiteX15" fmla="*/ 1017176 w 1726266"/>
              <a:gd name="connsiteY15" fmla="*/ 339047 h 390647"/>
              <a:gd name="connsiteX16" fmla="*/ 914435 w 1726266"/>
              <a:gd name="connsiteY16" fmla="*/ 349321 h 390647"/>
              <a:gd name="connsiteX17" fmla="*/ 678129 w 1726266"/>
              <a:gd name="connsiteY17" fmla="*/ 369869 h 390647"/>
              <a:gd name="connsiteX18" fmla="*/ 647307 w 1726266"/>
              <a:gd name="connsiteY18" fmla="*/ 380143 h 390647"/>
              <a:gd name="connsiteX19" fmla="*/ 10309 w 1726266"/>
              <a:gd name="connsiteY19" fmla="*/ 380143 h 390647"/>
              <a:gd name="connsiteX20" fmla="*/ 20583 w 1726266"/>
              <a:gd name="connsiteY20" fmla="*/ 297950 h 390647"/>
              <a:gd name="connsiteX21" fmla="*/ 30857 w 1726266"/>
              <a:gd name="connsiteY21" fmla="*/ 246579 h 390647"/>
              <a:gd name="connsiteX22" fmla="*/ 61680 w 1726266"/>
              <a:gd name="connsiteY22" fmla="*/ 236305 h 390647"/>
              <a:gd name="connsiteX23" fmla="*/ 71954 w 1726266"/>
              <a:gd name="connsiteY23" fmla="*/ 205483 h 390647"/>
              <a:gd name="connsiteX24" fmla="*/ 51406 w 1726266"/>
              <a:gd name="connsiteY24" fmla="*/ 184934 h 390647"/>
              <a:gd name="connsiteX25" fmla="*/ 10309 w 1726266"/>
              <a:gd name="connsiteY25" fmla="*/ 113015 h 390647"/>
              <a:gd name="connsiteX26" fmla="*/ 61680 w 1726266"/>
              <a:gd name="connsiteY26" fmla="*/ 92467 h 390647"/>
              <a:gd name="connsiteX27" fmla="*/ 123325 w 1726266"/>
              <a:gd name="connsiteY27" fmla="*/ 71919 h 390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726266" h="390647">
                <a:moveTo>
                  <a:pt x="123325" y="71919"/>
                </a:moveTo>
                <a:cubicBezTo>
                  <a:pt x="186682" y="66782"/>
                  <a:pt x="335809" y="68271"/>
                  <a:pt x="441824" y="61645"/>
                </a:cubicBezTo>
                <a:cubicBezTo>
                  <a:pt x="500331" y="57988"/>
                  <a:pt x="557943" y="44177"/>
                  <a:pt x="616484" y="41096"/>
                </a:cubicBezTo>
                <a:cubicBezTo>
                  <a:pt x="753326" y="33894"/>
                  <a:pt x="890462" y="34247"/>
                  <a:pt x="1027451" y="30822"/>
                </a:cubicBezTo>
                <a:cubicBezTo>
                  <a:pt x="1198989" y="6317"/>
                  <a:pt x="1056823" y="24033"/>
                  <a:pt x="1387046" y="10274"/>
                </a:cubicBezTo>
                <a:lnTo>
                  <a:pt x="1592529" y="0"/>
                </a:lnTo>
                <a:cubicBezTo>
                  <a:pt x="1606228" y="3425"/>
                  <a:pt x="1625153" y="-1022"/>
                  <a:pt x="1633626" y="10274"/>
                </a:cubicBezTo>
                <a:cubicBezTo>
                  <a:pt x="1655545" y="39498"/>
                  <a:pt x="1598007" y="49544"/>
                  <a:pt x="1592529" y="51370"/>
                </a:cubicBezTo>
                <a:cubicBezTo>
                  <a:pt x="1585680" y="61644"/>
                  <a:pt x="1583025" y="76671"/>
                  <a:pt x="1571981" y="82193"/>
                </a:cubicBezTo>
                <a:cubicBezTo>
                  <a:pt x="1490010" y="123179"/>
                  <a:pt x="1521937" y="57663"/>
                  <a:pt x="1500062" y="123290"/>
                </a:cubicBezTo>
                <a:cubicBezTo>
                  <a:pt x="1608937" y="166839"/>
                  <a:pt x="1489884" y="113079"/>
                  <a:pt x="1613078" y="195209"/>
                </a:cubicBezTo>
                <a:cubicBezTo>
                  <a:pt x="1626618" y="204236"/>
                  <a:pt x="1687861" y="214275"/>
                  <a:pt x="1695271" y="215757"/>
                </a:cubicBezTo>
                <a:cubicBezTo>
                  <a:pt x="1705545" y="226031"/>
                  <a:pt x="1728482" y="232247"/>
                  <a:pt x="1726093" y="246579"/>
                </a:cubicBezTo>
                <a:cubicBezTo>
                  <a:pt x="1723385" y="262826"/>
                  <a:pt x="1655018" y="291001"/>
                  <a:pt x="1643900" y="297950"/>
                </a:cubicBezTo>
                <a:cubicBezTo>
                  <a:pt x="1629379" y="307026"/>
                  <a:pt x="1619890" y="327653"/>
                  <a:pt x="1602803" y="328773"/>
                </a:cubicBezTo>
                <a:cubicBezTo>
                  <a:pt x="1407982" y="341548"/>
                  <a:pt x="1212385" y="335622"/>
                  <a:pt x="1017176" y="339047"/>
                </a:cubicBezTo>
                <a:lnTo>
                  <a:pt x="914435" y="349321"/>
                </a:lnTo>
                <a:lnTo>
                  <a:pt x="678129" y="369869"/>
                </a:lnTo>
                <a:cubicBezTo>
                  <a:pt x="667855" y="373294"/>
                  <a:pt x="658096" y="379205"/>
                  <a:pt x="647307" y="380143"/>
                </a:cubicBezTo>
                <a:cubicBezTo>
                  <a:pt x="414619" y="400377"/>
                  <a:pt x="265982" y="386231"/>
                  <a:pt x="10309" y="380143"/>
                </a:cubicBezTo>
                <a:cubicBezTo>
                  <a:pt x="-7696" y="326129"/>
                  <a:pt x="-754" y="369075"/>
                  <a:pt x="20583" y="297950"/>
                </a:cubicBezTo>
                <a:cubicBezTo>
                  <a:pt x="25601" y="281224"/>
                  <a:pt x="21170" y="261109"/>
                  <a:pt x="30857" y="246579"/>
                </a:cubicBezTo>
                <a:cubicBezTo>
                  <a:pt x="36864" y="237568"/>
                  <a:pt x="51406" y="239730"/>
                  <a:pt x="61680" y="236305"/>
                </a:cubicBezTo>
                <a:cubicBezTo>
                  <a:pt x="65105" y="226031"/>
                  <a:pt x="74078" y="216102"/>
                  <a:pt x="71954" y="205483"/>
                </a:cubicBezTo>
                <a:cubicBezTo>
                  <a:pt x="70054" y="195984"/>
                  <a:pt x="56779" y="192994"/>
                  <a:pt x="51406" y="184934"/>
                </a:cubicBezTo>
                <a:cubicBezTo>
                  <a:pt x="36090" y="161960"/>
                  <a:pt x="24008" y="136988"/>
                  <a:pt x="10309" y="113015"/>
                </a:cubicBezTo>
                <a:cubicBezTo>
                  <a:pt x="27433" y="106166"/>
                  <a:pt x="44015" y="97766"/>
                  <a:pt x="61680" y="92467"/>
                </a:cubicBezTo>
                <a:cubicBezTo>
                  <a:pt x="78406" y="87449"/>
                  <a:pt x="59968" y="77056"/>
                  <a:pt x="123325" y="71919"/>
                </a:cubicBezTo>
                <a:close/>
              </a:path>
            </a:pathLst>
          </a:custGeom>
          <a:solidFill>
            <a:srgbClr val="FFFFDB">
              <a:alpha val="75000"/>
            </a:srgbClr>
          </a:solidFill>
          <a:ln>
            <a:noFill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81000" marR="0" indent="-381000" algn="l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buFontTx/>
              <a:buBlip>
                <a:blip r:embed="rId2"/>
              </a:buBlip>
              <a:tabLst/>
            </a:pPr>
            <a:endParaRPr kumimoji="0" lang="ru-RU" sz="2100" b="0" i="0" u="none" strike="noStrike" cap="none" normalizeH="0" baseline="0" smtClean="0">
              <a:ln>
                <a:noFill/>
              </a:ln>
              <a:solidFill>
                <a:srgbClr val="0066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0" name="Rectangle 4"/>
          <p:cNvSpPr>
            <a:spLocks noChangeArrowheads="1"/>
          </p:cNvSpPr>
          <p:nvPr/>
        </p:nvSpPr>
        <p:spPr bwMode="auto">
          <a:xfrm>
            <a:off x="1728589" y="0"/>
            <a:ext cx="7200800" cy="8773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89" b="0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 algn="ctr">
              <a:lnSpc>
                <a:spcPct val="90000"/>
              </a:lnSpc>
              <a:defRPr/>
            </a:pPr>
            <a:r>
              <a:rPr lang="ru-RU" sz="1889" b="0" dirty="0" smtClean="0">
                <a:solidFill>
                  <a:srgbClr val="808080">
                    <a:lumMod val="50000"/>
                  </a:srgbClr>
                </a:solidFill>
                <a:cs typeface="Arial" panose="020B0604020202020204" pitchFamily="34" charset="0"/>
              </a:rPr>
              <a:t>Детальную информацию по оценке посмотреть в печатной форме протокола</a:t>
            </a:r>
            <a:endParaRPr kumimoji="0" lang="ru-RU" sz="1889" b="0" i="0" u="none" strike="noStrike" kern="1200" cap="none" spc="0" normalizeH="0" baseline="0" noProof="0" dirty="0" smtClean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60737" y="1007839"/>
            <a:ext cx="5400600" cy="5128201"/>
          </a:xfrm>
          <a:prstGeom prst="rect">
            <a:avLst/>
          </a:prstGeom>
          <a:effectLst>
            <a:outerShdw blurRad="127000" dist="50800" dir="5400000" algn="ctr" rotWithShape="0">
              <a:srgbClr val="000000">
                <a:alpha val="43137"/>
              </a:srgbClr>
            </a:outerShdw>
          </a:effectLst>
        </p:spPr>
      </p:pic>
      <p:sp>
        <p:nvSpPr>
          <p:cNvPr id="7" name="TextBox 6"/>
          <p:cNvSpPr txBox="1"/>
          <p:nvPr/>
        </p:nvSpPr>
        <p:spPr>
          <a:xfrm>
            <a:off x="288429" y="1151855"/>
            <a:ext cx="227218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0" dirty="0" smtClean="0">
                <a:solidFill>
                  <a:schemeClr val="tx1"/>
                </a:solidFill>
              </a:rPr>
              <a:t>Детальная информация по каждому поставщику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56139" y="1936784"/>
            <a:ext cx="16547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0" dirty="0" smtClean="0">
                <a:solidFill>
                  <a:schemeClr val="tx1"/>
                </a:solidFill>
              </a:rPr>
              <a:t>Информация из предложения</a:t>
            </a:r>
          </a:p>
        </p:txBody>
      </p:sp>
      <p:cxnSp>
        <p:nvCxnSpPr>
          <p:cNvPr id="9" name="Прямая со стрелкой 8"/>
          <p:cNvCxnSpPr/>
          <p:nvPr/>
        </p:nvCxnSpPr>
        <p:spPr bwMode="auto">
          <a:xfrm>
            <a:off x="2420199" y="2203393"/>
            <a:ext cx="504056" cy="0"/>
          </a:xfrm>
          <a:prstGeom prst="straightConnector1">
            <a:avLst/>
          </a:prstGeom>
          <a:solidFill>
            <a:srgbClr val="00FF00">
              <a:alpha val="75000"/>
            </a:srgbClr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10" name="Полилиния 9"/>
          <p:cNvSpPr/>
          <p:nvPr/>
        </p:nvSpPr>
        <p:spPr bwMode="auto">
          <a:xfrm>
            <a:off x="616449" y="1982912"/>
            <a:ext cx="544531" cy="0"/>
          </a:xfrm>
          <a:custGeom>
            <a:avLst/>
            <a:gdLst>
              <a:gd name="connsiteX0" fmla="*/ 0 w 544531"/>
              <a:gd name="connsiteY0" fmla="*/ 0 h 0"/>
              <a:gd name="connsiteX1" fmla="*/ 544531 w 544531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44531">
                <a:moveTo>
                  <a:pt x="0" y="0"/>
                </a:moveTo>
                <a:lnTo>
                  <a:pt x="544531" y="0"/>
                </a:lnTo>
              </a:path>
            </a:pathLst>
          </a:cu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81000" marR="0" indent="-381000" algn="l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buFontTx/>
              <a:buBlip>
                <a:blip r:embed="rId2"/>
              </a:buBlip>
              <a:tabLst/>
            </a:pPr>
            <a:endParaRPr kumimoji="0" lang="ru-RU" sz="2100" b="0" i="0" u="none" strike="noStrike" cap="none" normalizeH="0" baseline="0" smtClean="0">
              <a:ln>
                <a:noFill/>
              </a:ln>
              <a:solidFill>
                <a:srgbClr val="0066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Полилиния 12"/>
          <p:cNvSpPr/>
          <p:nvPr/>
        </p:nvSpPr>
        <p:spPr bwMode="auto">
          <a:xfrm>
            <a:off x="288429" y="2714733"/>
            <a:ext cx="2131770" cy="504000"/>
          </a:xfrm>
          <a:custGeom>
            <a:avLst/>
            <a:gdLst>
              <a:gd name="connsiteX0" fmla="*/ 123325 w 1726266"/>
              <a:gd name="connsiteY0" fmla="*/ 71919 h 390647"/>
              <a:gd name="connsiteX1" fmla="*/ 441824 w 1726266"/>
              <a:gd name="connsiteY1" fmla="*/ 61645 h 390647"/>
              <a:gd name="connsiteX2" fmla="*/ 616484 w 1726266"/>
              <a:gd name="connsiteY2" fmla="*/ 41096 h 390647"/>
              <a:gd name="connsiteX3" fmla="*/ 1027451 w 1726266"/>
              <a:gd name="connsiteY3" fmla="*/ 30822 h 390647"/>
              <a:gd name="connsiteX4" fmla="*/ 1387046 w 1726266"/>
              <a:gd name="connsiteY4" fmla="*/ 10274 h 390647"/>
              <a:gd name="connsiteX5" fmla="*/ 1592529 w 1726266"/>
              <a:gd name="connsiteY5" fmla="*/ 0 h 390647"/>
              <a:gd name="connsiteX6" fmla="*/ 1633626 w 1726266"/>
              <a:gd name="connsiteY6" fmla="*/ 10274 h 390647"/>
              <a:gd name="connsiteX7" fmla="*/ 1592529 w 1726266"/>
              <a:gd name="connsiteY7" fmla="*/ 51370 h 390647"/>
              <a:gd name="connsiteX8" fmla="*/ 1571981 w 1726266"/>
              <a:gd name="connsiteY8" fmla="*/ 82193 h 390647"/>
              <a:gd name="connsiteX9" fmla="*/ 1500062 w 1726266"/>
              <a:gd name="connsiteY9" fmla="*/ 123290 h 390647"/>
              <a:gd name="connsiteX10" fmla="*/ 1613078 w 1726266"/>
              <a:gd name="connsiteY10" fmla="*/ 195209 h 390647"/>
              <a:gd name="connsiteX11" fmla="*/ 1695271 w 1726266"/>
              <a:gd name="connsiteY11" fmla="*/ 215757 h 390647"/>
              <a:gd name="connsiteX12" fmla="*/ 1726093 w 1726266"/>
              <a:gd name="connsiteY12" fmla="*/ 246579 h 390647"/>
              <a:gd name="connsiteX13" fmla="*/ 1643900 w 1726266"/>
              <a:gd name="connsiteY13" fmla="*/ 297950 h 390647"/>
              <a:gd name="connsiteX14" fmla="*/ 1602803 w 1726266"/>
              <a:gd name="connsiteY14" fmla="*/ 328773 h 390647"/>
              <a:gd name="connsiteX15" fmla="*/ 1017176 w 1726266"/>
              <a:gd name="connsiteY15" fmla="*/ 339047 h 390647"/>
              <a:gd name="connsiteX16" fmla="*/ 914435 w 1726266"/>
              <a:gd name="connsiteY16" fmla="*/ 349321 h 390647"/>
              <a:gd name="connsiteX17" fmla="*/ 678129 w 1726266"/>
              <a:gd name="connsiteY17" fmla="*/ 369869 h 390647"/>
              <a:gd name="connsiteX18" fmla="*/ 647307 w 1726266"/>
              <a:gd name="connsiteY18" fmla="*/ 380143 h 390647"/>
              <a:gd name="connsiteX19" fmla="*/ 10309 w 1726266"/>
              <a:gd name="connsiteY19" fmla="*/ 380143 h 390647"/>
              <a:gd name="connsiteX20" fmla="*/ 20583 w 1726266"/>
              <a:gd name="connsiteY20" fmla="*/ 297950 h 390647"/>
              <a:gd name="connsiteX21" fmla="*/ 30857 w 1726266"/>
              <a:gd name="connsiteY21" fmla="*/ 246579 h 390647"/>
              <a:gd name="connsiteX22" fmla="*/ 61680 w 1726266"/>
              <a:gd name="connsiteY22" fmla="*/ 236305 h 390647"/>
              <a:gd name="connsiteX23" fmla="*/ 71954 w 1726266"/>
              <a:gd name="connsiteY23" fmla="*/ 205483 h 390647"/>
              <a:gd name="connsiteX24" fmla="*/ 51406 w 1726266"/>
              <a:gd name="connsiteY24" fmla="*/ 184934 h 390647"/>
              <a:gd name="connsiteX25" fmla="*/ 10309 w 1726266"/>
              <a:gd name="connsiteY25" fmla="*/ 113015 h 390647"/>
              <a:gd name="connsiteX26" fmla="*/ 61680 w 1726266"/>
              <a:gd name="connsiteY26" fmla="*/ 92467 h 390647"/>
              <a:gd name="connsiteX27" fmla="*/ 123325 w 1726266"/>
              <a:gd name="connsiteY27" fmla="*/ 71919 h 390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726266" h="390647">
                <a:moveTo>
                  <a:pt x="123325" y="71919"/>
                </a:moveTo>
                <a:cubicBezTo>
                  <a:pt x="186682" y="66782"/>
                  <a:pt x="335809" y="68271"/>
                  <a:pt x="441824" y="61645"/>
                </a:cubicBezTo>
                <a:cubicBezTo>
                  <a:pt x="500331" y="57988"/>
                  <a:pt x="557943" y="44177"/>
                  <a:pt x="616484" y="41096"/>
                </a:cubicBezTo>
                <a:cubicBezTo>
                  <a:pt x="753326" y="33894"/>
                  <a:pt x="890462" y="34247"/>
                  <a:pt x="1027451" y="30822"/>
                </a:cubicBezTo>
                <a:cubicBezTo>
                  <a:pt x="1198989" y="6317"/>
                  <a:pt x="1056823" y="24033"/>
                  <a:pt x="1387046" y="10274"/>
                </a:cubicBezTo>
                <a:lnTo>
                  <a:pt x="1592529" y="0"/>
                </a:lnTo>
                <a:cubicBezTo>
                  <a:pt x="1606228" y="3425"/>
                  <a:pt x="1625153" y="-1022"/>
                  <a:pt x="1633626" y="10274"/>
                </a:cubicBezTo>
                <a:cubicBezTo>
                  <a:pt x="1655545" y="39498"/>
                  <a:pt x="1598007" y="49544"/>
                  <a:pt x="1592529" y="51370"/>
                </a:cubicBezTo>
                <a:cubicBezTo>
                  <a:pt x="1585680" y="61644"/>
                  <a:pt x="1583025" y="76671"/>
                  <a:pt x="1571981" y="82193"/>
                </a:cubicBezTo>
                <a:cubicBezTo>
                  <a:pt x="1490010" y="123179"/>
                  <a:pt x="1521937" y="57663"/>
                  <a:pt x="1500062" y="123290"/>
                </a:cubicBezTo>
                <a:cubicBezTo>
                  <a:pt x="1608937" y="166839"/>
                  <a:pt x="1489884" y="113079"/>
                  <a:pt x="1613078" y="195209"/>
                </a:cubicBezTo>
                <a:cubicBezTo>
                  <a:pt x="1626618" y="204236"/>
                  <a:pt x="1687861" y="214275"/>
                  <a:pt x="1695271" y="215757"/>
                </a:cubicBezTo>
                <a:cubicBezTo>
                  <a:pt x="1705545" y="226031"/>
                  <a:pt x="1728482" y="232247"/>
                  <a:pt x="1726093" y="246579"/>
                </a:cubicBezTo>
                <a:cubicBezTo>
                  <a:pt x="1723385" y="262826"/>
                  <a:pt x="1655018" y="291001"/>
                  <a:pt x="1643900" y="297950"/>
                </a:cubicBezTo>
                <a:cubicBezTo>
                  <a:pt x="1629379" y="307026"/>
                  <a:pt x="1619890" y="327653"/>
                  <a:pt x="1602803" y="328773"/>
                </a:cubicBezTo>
                <a:cubicBezTo>
                  <a:pt x="1407982" y="341548"/>
                  <a:pt x="1212385" y="335622"/>
                  <a:pt x="1017176" y="339047"/>
                </a:cubicBezTo>
                <a:lnTo>
                  <a:pt x="914435" y="349321"/>
                </a:lnTo>
                <a:lnTo>
                  <a:pt x="678129" y="369869"/>
                </a:lnTo>
                <a:cubicBezTo>
                  <a:pt x="667855" y="373294"/>
                  <a:pt x="658096" y="379205"/>
                  <a:pt x="647307" y="380143"/>
                </a:cubicBezTo>
                <a:cubicBezTo>
                  <a:pt x="414619" y="400377"/>
                  <a:pt x="265982" y="386231"/>
                  <a:pt x="10309" y="380143"/>
                </a:cubicBezTo>
                <a:cubicBezTo>
                  <a:pt x="-7696" y="326129"/>
                  <a:pt x="-754" y="369075"/>
                  <a:pt x="20583" y="297950"/>
                </a:cubicBezTo>
                <a:cubicBezTo>
                  <a:pt x="25601" y="281224"/>
                  <a:pt x="21170" y="261109"/>
                  <a:pt x="30857" y="246579"/>
                </a:cubicBezTo>
                <a:cubicBezTo>
                  <a:pt x="36864" y="237568"/>
                  <a:pt x="51406" y="239730"/>
                  <a:pt x="61680" y="236305"/>
                </a:cubicBezTo>
                <a:cubicBezTo>
                  <a:pt x="65105" y="226031"/>
                  <a:pt x="74078" y="216102"/>
                  <a:pt x="71954" y="205483"/>
                </a:cubicBezTo>
                <a:cubicBezTo>
                  <a:pt x="70054" y="195984"/>
                  <a:pt x="56779" y="192994"/>
                  <a:pt x="51406" y="184934"/>
                </a:cubicBezTo>
                <a:cubicBezTo>
                  <a:pt x="36090" y="161960"/>
                  <a:pt x="24008" y="136988"/>
                  <a:pt x="10309" y="113015"/>
                </a:cubicBezTo>
                <a:cubicBezTo>
                  <a:pt x="27433" y="106166"/>
                  <a:pt x="44015" y="97766"/>
                  <a:pt x="61680" y="92467"/>
                </a:cubicBezTo>
                <a:cubicBezTo>
                  <a:pt x="78406" y="87449"/>
                  <a:pt x="59968" y="77056"/>
                  <a:pt x="123325" y="71919"/>
                </a:cubicBezTo>
                <a:close/>
              </a:path>
            </a:pathLst>
          </a:custGeom>
          <a:solidFill>
            <a:srgbClr val="FFFFDB">
              <a:alpha val="75000"/>
            </a:srgbClr>
          </a:solidFill>
          <a:ln>
            <a:noFill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81000" marR="0" indent="-381000" algn="l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buFontTx/>
              <a:buBlip>
                <a:blip r:embed="rId2"/>
              </a:buBlip>
              <a:tabLst/>
            </a:pPr>
            <a:endParaRPr kumimoji="0" lang="ru-RU" sz="2100" b="0" i="0" u="none" strike="noStrike" cap="none" normalizeH="0" baseline="0" smtClean="0">
              <a:ln>
                <a:noFill/>
              </a:ln>
              <a:solidFill>
                <a:srgbClr val="0066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56139" y="2668606"/>
            <a:ext cx="1964060" cy="504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0" dirty="0" smtClean="0">
                <a:solidFill>
                  <a:schemeClr val="tx1"/>
                </a:solidFill>
              </a:rPr>
              <a:t>Результат интегральной оценки</a:t>
            </a:r>
          </a:p>
        </p:txBody>
      </p:sp>
      <p:cxnSp>
        <p:nvCxnSpPr>
          <p:cNvPr id="15" name="Прямая со стрелкой 14"/>
          <p:cNvCxnSpPr/>
          <p:nvPr/>
        </p:nvCxnSpPr>
        <p:spPr bwMode="auto">
          <a:xfrm>
            <a:off x="2420199" y="2935215"/>
            <a:ext cx="504056" cy="0"/>
          </a:xfrm>
          <a:prstGeom prst="straightConnector1">
            <a:avLst/>
          </a:prstGeom>
          <a:solidFill>
            <a:srgbClr val="00FF00">
              <a:alpha val="75000"/>
            </a:srgbClr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16" name="Полилиния 15"/>
          <p:cNvSpPr/>
          <p:nvPr/>
        </p:nvSpPr>
        <p:spPr bwMode="auto">
          <a:xfrm>
            <a:off x="616449" y="2714734"/>
            <a:ext cx="544531" cy="0"/>
          </a:xfrm>
          <a:custGeom>
            <a:avLst/>
            <a:gdLst>
              <a:gd name="connsiteX0" fmla="*/ 0 w 544531"/>
              <a:gd name="connsiteY0" fmla="*/ 0 h 0"/>
              <a:gd name="connsiteX1" fmla="*/ 544531 w 544531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44531">
                <a:moveTo>
                  <a:pt x="0" y="0"/>
                </a:moveTo>
                <a:lnTo>
                  <a:pt x="544531" y="0"/>
                </a:lnTo>
              </a:path>
            </a:pathLst>
          </a:cu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81000" marR="0" indent="-381000" algn="l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buFontTx/>
              <a:buBlip>
                <a:blip r:embed="rId2"/>
              </a:buBlip>
              <a:tabLst/>
            </a:pPr>
            <a:endParaRPr kumimoji="0" lang="ru-RU" sz="2100" b="0" i="0" u="none" strike="noStrike" cap="none" normalizeH="0" baseline="0" smtClean="0">
              <a:ln>
                <a:noFill/>
              </a:ln>
              <a:solidFill>
                <a:srgbClr val="0066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" name="Полилиния 16"/>
          <p:cNvSpPr/>
          <p:nvPr/>
        </p:nvSpPr>
        <p:spPr bwMode="auto">
          <a:xfrm>
            <a:off x="192727" y="3430230"/>
            <a:ext cx="2131770" cy="648000"/>
          </a:xfrm>
          <a:custGeom>
            <a:avLst/>
            <a:gdLst>
              <a:gd name="connsiteX0" fmla="*/ 123325 w 1726266"/>
              <a:gd name="connsiteY0" fmla="*/ 71919 h 390647"/>
              <a:gd name="connsiteX1" fmla="*/ 441824 w 1726266"/>
              <a:gd name="connsiteY1" fmla="*/ 61645 h 390647"/>
              <a:gd name="connsiteX2" fmla="*/ 616484 w 1726266"/>
              <a:gd name="connsiteY2" fmla="*/ 41096 h 390647"/>
              <a:gd name="connsiteX3" fmla="*/ 1027451 w 1726266"/>
              <a:gd name="connsiteY3" fmla="*/ 30822 h 390647"/>
              <a:gd name="connsiteX4" fmla="*/ 1387046 w 1726266"/>
              <a:gd name="connsiteY4" fmla="*/ 10274 h 390647"/>
              <a:gd name="connsiteX5" fmla="*/ 1592529 w 1726266"/>
              <a:gd name="connsiteY5" fmla="*/ 0 h 390647"/>
              <a:gd name="connsiteX6" fmla="*/ 1633626 w 1726266"/>
              <a:gd name="connsiteY6" fmla="*/ 10274 h 390647"/>
              <a:gd name="connsiteX7" fmla="*/ 1592529 w 1726266"/>
              <a:gd name="connsiteY7" fmla="*/ 51370 h 390647"/>
              <a:gd name="connsiteX8" fmla="*/ 1571981 w 1726266"/>
              <a:gd name="connsiteY8" fmla="*/ 82193 h 390647"/>
              <a:gd name="connsiteX9" fmla="*/ 1500062 w 1726266"/>
              <a:gd name="connsiteY9" fmla="*/ 123290 h 390647"/>
              <a:gd name="connsiteX10" fmla="*/ 1613078 w 1726266"/>
              <a:gd name="connsiteY10" fmla="*/ 195209 h 390647"/>
              <a:gd name="connsiteX11" fmla="*/ 1695271 w 1726266"/>
              <a:gd name="connsiteY11" fmla="*/ 215757 h 390647"/>
              <a:gd name="connsiteX12" fmla="*/ 1726093 w 1726266"/>
              <a:gd name="connsiteY12" fmla="*/ 246579 h 390647"/>
              <a:gd name="connsiteX13" fmla="*/ 1643900 w 1726266"/>
              <a:gd name="connsiteY13" fmla="*/ 297950 h 390647"/>
              <a:gd name="connsiteX14" fmla="*/ 1602803 w 1726266"/>
              <a:gd name="connsiteY14" fmla="*/ 328773 h 390647"/>
              <a:gd name="connsiteX15" fmla="*/ 1017176 w 1726266"/>
              <a:gd name="connsiteY15" fmla="*/ 339047 h 390647"/>
              <a:gd name="connsiteX16" fmla="*/ 914435 w 1726266"/>
              <a:gd name="connsiteY16" fmla="*/ 349321 h 390647"/>
              <a:gd name="connsiteX17" fmla="*/ 678129 w 1726266"/>
              <a:gd name="connsiteY17" fmla="*/ 369869 h 390647"/>
              <a:gd name="connsiteX18" fmla="*/ 647307 w 1726266"/>
              <a:gd name="connsiteY18" fmla="*/ 380143 h 390647"/>
              <a:gd name="connsiteX19" fmla="*/ 10309 w 1726266"/>
              <a:gd name="connsiteY19" fmla="*/ 380143 h 390647"/>
              <a:gd name="connsiteX20" fmla="*/ 20583 w 1726266"/>
              <a:gd name="connsiteY20" fmla="*/ 297950 h 390647"/>
              <a:gd name="connsiteX21" fmla="*/ 30857 w 1726266"/>
              <a:gd name="connsiteY21" fmla="*/ 246579 h 390647"/>
              <a:gd name="connsiteX22" fmla="*/ 61680 w 1726266"/>
              <a:gd name="connsiteY22" fmla="*/ 236305 h 390647"/>
              <a:gd name="connsiteX23" fmla="*/ 71954 w 1726266"/>
              <a:gd name="connsiteY23" fmla="*/ 205483 h 390647"/>
              <a:gd name="connsiteX24" fmla="*/ 51406 w 1726266"/>
              <a:gd name="connsiteY24" fmla="*/ 184934 h 390647"/>
              <a:gd name="connsiteX25" fmla="*/ 10309 w 1726266"/>
              <a:gd name="connsiteY25" fmla="*/ 113015 h 390647"/>
              <a:gd name="connsiteX26" fmla="*/ 61680 w 1726266"/>
              <a:gd name="connsiteY26" fmla="*/ 92467 h 390647"/>
              <a:gd name="connsiteX27" fmla="*/ 123325 w 1726266"/>
              <a:gd name="connsiteY27" fmla="*/ 71919 h 390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726266" h="390647">
                <a:moveTo>
                  <a:pt x="123325" y="71919"/>
                </a:moveTo>
                <a:cubicBezTo>
                  <a:pt x="186682" y="66782"/>
                  <a:pt x="335809" y="68271"/>
                  <a:pt x="441824" y="61645"/>
                </a:cubicBezTo>
                <a:cubicBezTo>
                  <a:pt x="500331" y="57988"/>
                  <a:pt x="557943" y="44177"/>
                  <a:pt x="616484" y="41096"/>
                </a:cubicBezTo>
                <a:cubicBezTo>
                  <a:pt x="753326" y="33894"/>
                  <a:pt x="890462" y="34247"/>
                  <a:pt x="1027451" y="30822"/>
                </a:cubicBezTo>
                <a:cubicBezTo>
                  <a:pt x="1198989" y="6317"/>
                  <a:pt x="1056823" y="24033"/>
                  <a:pt x="1387046" y="10274"/>
                </a:cubicBezTo>
                <a:lnTo>
                  <a:pt x="1592529" y="0"/>
                </a:lnTo>
                <a:cubicBezTo>
                  <a:pt x="1606228" y="3425"/>
                  <a:pt x="1625153" y="-1022"/>
                  <a:pt x="1633626" y="10274"/>
                </a:cubicBezTo>
                <a:cubicBezTo>
                  <a:pt x="1655545" y="39498"/>
                  <a:pt x="1598007" y="49544"/>
                  <a:pt x="1592529" y="51370"/>
                </a:cubicBezTo>
                <a:cubicBezTo>
                  <a:pt x="1585680" y="61644"/>
                  <a:pt x="1583025" y="76671"/>
                  <a:pt x="1571981" y="82193"/>
                </a:cubicBezTo>
                <a:cubicBezTo>
                  <a:pt x="1490010" y="123179"/>
                  <a:pt x="1521937" y="57663"/>
                  <a:pt x="1500062" y="123290"/>
                </a:cubicBezTo>
                <a:cubicBezTo>
                  <a:pt x="1608937" y="166839"/>
                  <a:pt x="1489884" y="113079"/>
                  <a:pt x="1613078" y="195209"/>
                </a:cubicBezTo>
                <a:cubicBezTo>
                  <a:pt x="1626618" y="204236"/>
                  <a:pt x="1687861" y="214275"/>
                  <a:pt x="1695271" y="215757"/>
                </a:cubicBezTo>
                <a:cubicBezTo>
                  <a:pt x="1705545" y="226031"/>
                  <a:pt x="1728482" y="232247"/>
                  <a:pt x="1726093" y="246579"/>
                </a:cubicBezTo>
                <a:cubicBezTo>
                  <a:pt x="1723385" y="262826"/>
                  <a:pt x="1655018" y="291001"/>
                  <a:pt x="1643900" y="297950"/>
                </a:cubicBezTo>
                <a:cubicBezTo>
                  <a:pt x="1629379" y="307026"/>
                  <a:pt x="1619890" y="327653"/>
                  <a:pt x="1602803" y="328773"/>
                </a:cubicBezTo>
                <a:cubicBezTo>
                  <a:pt x="1407982" y="341548"/>
                  <a:pt x="1212385" y="335622"/>
                  <a:pt x="1017176" y="339047"/>
                </a:cubicBezTo>
                <a:lnTo>
                  <a:pt x="914435" y="349321"/>
                </a:lnTo>
                <a:lnTo>
                  <a:pt x="678129" y="369869"/>
                </a:lnTo>
                <a:cubicBezTo>
                  <a:pt x="667855" y="373294"/>
                  <a:pt x="658096" y="379205"/>
                  <a:pt x="647307" y="380143"/>
                </a:cubicBezTo>
                <a:cubicBezTo>
                  <a:pt x="414619" y="400377"/>
                  <a:pt x="265982" y="386231"/>
                  <a:pt x="10309" y="380143"/>
                </a:cubicBezTo>
                <a:cubicBezTo>
                  <a:pt x="-7696" y="326129"/>
                  <a:pt x="-754" y="369075"/>
                  <a:pt x="20583" y="297950"/>
                </a:cubicBezTo>
                <a:cubicBezTo>
                  <a:pt x="25601" y="281224"/>
                  <a:pt x="21170" y="261109"/>
                  <a:pt x="30857" y="246579"/>
                </a:cubicBezTo>
                <a:cubicBezTo>
                  <a:pt x="36864" y="237568"/>
                  <a:pt x="51406" y="239730"/>
                  <a:pt x="61680" y="236305"/>
                </a:cubicBezTo>
                <a:cubicBezTo>
                  <a:pt x="65105" y="226031"/>
                  <a:pt x="74078" y="216102"/>
                  <a:pt x="71954" y="205483"/>
                </a:cubicBezTo>
                <a:cubicBezTo>
                  <a:pt x="70054" y="195984"/>
                  <a:pt x="56779" y="192994"/>
                  <a:pt x="51406" y="184934"/>
                </a:cubicBezTo>
                <a:cubicBezTo>
                  <a:pt x="36090" y="161960"/>
                  <a:pt x="24008" y="136988"/>
                  <a:pt x="10309" y="113015"/>
                </a:cubicBezTo>
                <a:cubicBezTo>
                  <a:pt x="27433" y="106166"/>
                  <a:pt x="44015" y="97766"/>
                  <a:pt x="61680" y="92467"/>
                </a:cubicBezTo>
                <a:cubicBezTo>
                  <a:pt x="78406" y="87449"/>
                  <a:pt x="59968" y="77056"/>
                  <a:pt x="123325" y="71919"/>
                </a:cubicBezTo>
                <a:close/>
              </a:path>
            </a:pathLst>
          </a:custGeom>
          <a:solidFill>
            <a:srgbClr val="FFFFDB">
              <a:alpha val="75000"/>
            </a:srgbClr>
          </a:solidFill>
          <a:ln>
            <a:noFill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81000" marR="0" indent="-381000" algn="l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buFontTx/>
              <a:buBlip>
                <a:blip r:embed="rId2"/>
              </a:buBlip>
              <a:tabLst/>
            </a:pPr>
            <a:endParaRPr kumimoji="0" lang="ru-RU" sz="2100" b="0" i="0" u="none" strike="noStrike" cap="none" normalizeH="0" baseline="0" smtClean="0">
              <a:ln>
                <a:noFill/>
              </a:ln>
              <a:solidFill>
                <a:srgbClr val="0066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60437" y="3293511"/>
            <a:ext cx="173187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0" dirty="0" smtClean="0">
                <a:solidFill>
                  <a:schemeClr val="tx1"/>
                </a:solidFill>
              </a:rPr>
              <a:t>Результат заключения для договора</a:t>
            </a:r>
          </a:p>
        </p:txBody>
      </p:sp>
      <p:cxnSp>
        <p:nvCxnSpPr>
          <p:cNvPr id="19" name="Прямая со стрелкой 18"/>
          <p:cNvCxnSpPr/>
          <p:nvPr/>
        </p:nvCxnSpPr>
        <p:spPr bwMode="auto">
          <a:xfrm>
            <a:off x="2324497" y="3650712"/>
            <a:ext cx="504056" cy="0"/>
          </a:xfrm>
          <a:prstGeom prst="straightConnector1">
            <a:avLst/>
          </a:prstGeom>
          <a:solidFill>
            <a:srgbClr val="00FF00">
              <a:alpha val="75000"/>
            </a:srgbClr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20" name="Полилиния 19"/>
          <p:cNvSpPr/>
          <p:nvPr/>
        </p:nvSpPr>
        <p:spPr bwMode="auto">
          <a:xfrm>
            <a:off x="520747" y="3430231"/>
            <a:ext cx="544531" cy="0"/>
          </a:xfrm>
          <a:custGeom>
            <a:avLst/>
            <a:gdLst>
              <a:gd name="connsiteX0" fmla="*/ 0 w 544531"/>
              <a:gd name="connsiteY0" fmla="*/ 0 h 0"/>
              <a:gd name="connsiteX1" fmla="*/ 544531 w 544531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44531">
                <a:moveTo>
                  <a:pt x="0" y="0"/>
                </a:moveTo>
                <a:lnTo>
                  <a:pt x="544531" y="0"/>
                </a:lnTo>
              </a:path>
            </a:pathLst>
          </a:cu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81000" marR="0" indent="-381000" algn="l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buFontTx/>
              <a:buBlip>
                <a:blip r:embed="rId2"/>
              </a:buBlip>
              <a:tabLst/>
            </a:pPr>
            <a:endParaRPr kumimoji="0" lang="ru-RU" sz="2100" b="0" i="0" u="none" strike="noStrike" cap="none" normalizeH="0" baseline="0" smtClean="0">
              <a:ln>
                <a:noFill/>
              </a:ln>
              <a:solidFill>
                <a:srgbClr val="006600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2015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"/>
          <p:cNvSpPr>
            <a:spLocks noChangeArrowheads="1"/>
          </p:cNvSpPr>
          <p:nvPr/>
        </p:nvSpPr>
        <p:spPr bwMode="auto">
          <a:xfrm>
            <a:off x="1728589" y="0"/>
            <a:ext cx="7200800" cy="6156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89" b="0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 algn="ctr">
              <a:lnSpc>
                <a:spcPct val="90000"/>
              </a:lnSpc>
              <a:defRPr/>
            </a:pPr>
            <a:r>
              <a:rPr lang="ru-RU" sz="1889" b="0" dirty="0" smtClean="0">
                <a:solidFill>
                  <a:srgbClr val="808080">
                    <a:lumMod val="50000"/>
                  </a:srgbClr>
                </a:solidFill>
                <a:cs typeface="Arial" panose="020B0604020202020204" pitchFamily="34" charset="0"/>
              </a:rPr>
              <a:t>Заключение договора по результатам закупок</a:t>
            </a:r>
            <a:endParaRPr kumimoji="0" lang="ru-RU" sz="1889" b="0" i="0" u="none" strike="noStrike" kern="1200" cap="none" spc="0" normalizeH="0" baseline="0" noProof="0" dirty="0" smtClean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413" y="1049025"/>
            <a:ext cx="9217024" cy="1916252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4413" y="3440511"/>
            <a:ext cx="9216424" cy="3029572"/>
          </a:xfrm>
          <a:prstGeom prst="rect">
            <a:avLst/>
          </a:prstGeom>
          <a:effectLst>
            <a:outerShdw blurRad="127000" dist="50800" dir="5400000" algn="ctr" rotWithShape="0">
              <a:srgbClr val="000000">
                <a:alpha val="43137"/>
              </a:srgbClr>
            </a:outerShdw>
          </a:effectLst>
        </p:spPr>
      </p:pic>
      <p:grpSp>
        <p:nvGrpSpPr>
          <p:cNvPr id="21" name="Группа 20"/>
          <p:cNvGrpSpPr/>
          <p:nvPr/>
        </p:nvGrpSpPr>
        <p:grpSpPr>
          <a:xfrm>
            <a:off x="7764827" y="4001353"/>
            <a:ext cx="287338" cy="287338"/>
            <a:chOff x="6176162" y="5681234"/>
            <a:chExt cx="287338" cy="287338"/>
          </a:xfrm>
        </p:grpSpPr>
        <p:pic>
          <p:nvPicPr>
            <p:cNvPr id="22" name="Рисунок 21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19340">
              <a:off x="6176162" y="5681234"/>
              <a:ext cx="287338" cy="287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3" name="Равнобедренный треугольник 22"/>
            <p:cNvSpPr/>
            <p:nvPr/>
          </p:nvSpPr>
          <p:spPr>
            <a:xfrm rot="19500000">
              <a:off x="6260177" y="5758166"/>
              <a:ext cx="126000" cy="143853"/>
            </a:xfrm>
            <a:prstGeom prst="triangl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cxnSp>
        <p:nvCxnSpPr>
          <p:cNvPr id="6" name="Прямая со стрелкой 5"/>
          <p:cNvCxnSpPr/>
          <p:nvPr/>
        </p:nvCxnSpPr>
        <p:spPr bwMode="auto">
          <a:xfrm flipV="1">
            <a:off x="7129189" y="2965277"/>
            <a:ext cx="0" cy="720000"/>
          </a:xfrm>
          <a:prstGeom prst="straightConnector1">
            <a:avLst/>
          </a:prstGeom>
          <a:solidFill>
            <a:srgbClr val="00FF00">
              <a:alpha val="75000"/>
            </a:srgbClr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9" name="TextBox 8"/>
          <p:cNvSpPr txBox="1"/>
          <p:nvPr/>
        </p:nvSpPr>
        <p:spPr>
          <a:xfrm>
            <a:off x="9504453" y="1898253"/>
            <a:ext cx="223324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0" dirty="0">
                <a:solidFill>
                  <a:schemeClr val="tx1"/>
                </a:solidFill>
              </a:rPr>
              <a:t>Для возможности заключения договоров  протокол должен быть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200" b="0" dirty="0">
                <a:solidFill>
                  <a:schemeClr val="tx1"/>
                </a:solidFill>
              </a:rPr>
              <a:t>Проведен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200" b="0" dirty="0">
                <a:solidFill>
                  <a:schemeClr val="tx1"/>
                </a:solidFill>
              </a:rPr>
              <a:t>Утвержден</a:t>
            </a:r>
          </a:p>
          <a:p>
            <a:endParaRPr lang="ru-RU" sz="1200" b="0" dirty="0" smtClean="0">
              <a:solidFill>
                <a:schemeClr val="tx1"/>
              </a:solidFill>
            </a:endParaRPr>
          </a:p>
          <a:p>
            <a:r>
              <a:rPr lang="ru-RU" sz="1200" b="0" dirty="0" smtClean="0">
                <a:solidFill>
                  <a:schemeClr val="tx1"/>
                </a:solidFill>
              </a:rPr>
              <a:t>После этого становится доступна кнопка «Управление договорами закупки»</a:t>
            </a:r>
            <a:endParaRPr lang="ru-RU" sz="12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7955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1681957" y="215900"/>
            <a:ext cx="7343775" cy="877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89" b="1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889" dirty="0" smtClean="0">
                <a:solidFill>
                  <a:srgbClr val="808080">
                    <a:lumMod val="50000"/>
                  </a:srgbClr>
                </a:solidFill>
                <a:cs typeface="Arial" panose="020B0604020202020204" pitchFamily="34" charset="0"/>
              </a:rPr>
              <a:t>Редакция 3.1</a:t>
            </a:r>
            <a:endParaRPr kumimoji="0" lang="ru-RU" sz="1889" b="1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89" b="1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1562100" y="2592015"/>
            <a:ext cx="7583488" cy="3425825"/>
            <a:chOff x="1562100" y="2592015"/>
            <a:chExt cx="7583488" cy="3425825"/>
          </a:xfrm>
        </p:grpSpPr>
        <p:sp>
          <p:nvSpPr>
            <p:cNvPr id="46083" name="Заголовок 1"/>
            <p:cNvSpPr txBox="1">
              <a:spLocks/>
            </p:cNvSpPr>
            <p:nvPr/>
          </p:nvSpPr>
          <p:spPr bwMode="auto">
            <a:xfrm>
              <a:off x="3336925" y="2592015"/>
              <a:ext cx="4032250" cy="28733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19" tIns="45709" rIns="91419" bIns="45709" anchor="ctr"/>
            <a:lstStyle>
              <a:lvl1pPr>
                <a:spcBef>
                  <a:spcPct val="20000"/>
                </a:spcBef>
                <a:buClr>
                  <a:srgbClr val="CC0000"/>
                </a:buClr>
                <a:buChar char="•"/>
                <a:defRPr sz="2100">
                  <a:solidFill>
                    <a:schemeClr val="tx1"/>
                  </a:solidFill>
                  <a:latin typeface="Futura PT Demi" pitchFamily="34" charset="0"/>
                </a:defRPr>
              </a:lvl1pPr>
              <a:lvl2pPr marL="742950" indent="-287338">
                <a:spcBef>
                  <a:spcPct val="20000"/>
                </a:spcBef>
                <a:buClr>
                  <a:srgbClr val="CC0000"/>
                </a:buClr>
                <a:buChar char="•"/>
                <a:defRPr sz="1700">
                  <a:solidFill>
                    <a:schemeClr val="tx1"/>
                  </a:solidFill>
                  <a:latin typeface="Futura PT Demi" pitchFamily="34" charset="0"/>
                </a:defRPr>
              </a:lvl2pPr>
              <a:lvl3pPr marL="1144588" indent="-230188">
                <a:spcBef>
                  <a:spcPct val="20000"/>
                </a:spcBef>
                <a:buClr>
                  <a:srgbClr val="CC0000"/>
                </a:buClr>
                <a:buChar char="•"/>
                <a:defRPr sz="1600">
                  <a:solidFill>
                    <a:schemeClr val="tx1"/>
                  </a:solidFill>
                  <a:latin typeface="Futura PT Demi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CC0000"/>
                </a:buClr>
                <a:buChar char="•"/>
                <a:defRPr sz="1400">
                  <a:solidFill>
                    <a:schemeClr val="tx1"/>
                  </a:solidFill>
                  <a:latin typeface="Futura PT Demi" pitchFamily="34" charset="0"/>
                </a:defRPr>
              </a:lvl4pPr>
              <a:lvl5pPr marL="2055813" indent="-227013">
                <a:spcBef>
                  <a:spcPct val="20000"/>
                </a:spcBef>
                <a:buClr>
                  <a:srgbClr val="CC0000"/>
                </a:buClr>
                <a:buChar char="•"/>
                <a:defRPr sz="1300">
                  <a:solidFill>
                    <a:schemeClr val="tx1"/>
                  </a:solidFill>
                  <a:latin typeface="Futura PT Demi" pitchFamily="34" charset="0"/>
                </a:defRPr>
              </a:lvl5pPr>
              <a:lvl6pPr marL="2513013" indent="-2270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Char char="•"/>
                <a:defRPr sz="1300">
                  <a:solidFill>
                    <a:schemeClr val="tx1"/>
                  </a:solidFill>
                  <a:latin typeface="Futura PT Demi" pitchFamily="34" charset="0"/>
                </a:defRPr>
              </a:lvl6pPr>
              <a:lvl7pPr marL="2970213" indent="-2270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Char char="•"/>
                <a:defRPr sz="1300">
                  <a:solidFill>
                    <a:schemeClr val="tx1"/>
                  </a:solidFill>
                  <a:latin typeface="Futura PT Demi" pitchFamily="34" charset="0"/>
                </a:defRPr>
              </a:lvl7pPr>
              <a:lvl8pPr marL="3427413" indent="-2270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Char char="•"/>
                <a:defRPr sz="1300">
                  <a:solidFill>
                    <a:schemeClr val="tx1"/>
                  </a:solidFill>
                  <a:latin typeface="Futura PT Demi" pitchFamily="34" charset="0"/>
                </a:defRPr>
              </a:lvl8pPr>
              <a:lvl9pPr marL="3884613" indent="-2270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Char char="•"/>
                <a:defRPr sz="1300">
                  <a:solidFill>
                    <a:schemeClr val="tx1"/>
                  </a:solidFill>
                  <a:latin typeface="Futura PT Demi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Дополнительная</a:t>
              </a:r>
              <a:r>
                <a:rPr kumimoji="0" lang="ru-RU" alt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 </a:t>
              </a:r>
              <a:r>
                <a:rPr kumimoji="0" lang="ru-RU" alt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информация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1562100" y="2879352"/>
              <a:ext cx="7583488" cy="313848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Сайт 1С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:ERP.</a:t>
              </a: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Управление холдингом: 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3"/>
                </a:rPr>
                <a:t>https://v8.1c.ru/cpm-erp/</a:t>
              </a: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Презентации 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4"/>
                </a:rPr>
                <a:t>https://v8.1c.ru/cpm-erp/poleznye-materialy/presentations/</a:t>
              </a: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Видео: 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5"/>
                </a:rPr>
                <a:t>https://v8.1c.ru/cpm-erp/poleznye-materialy/video/</a:t>
              </a: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Сайт 1С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:</a:t>
              </a: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Управление холдингом: 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6"/>
                </a:rPr>
                <a:t>https://v8.1c.ru/cpm/</a:t>
              </a: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Презентации 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7"/>
                </a:rPr>
                <a:t>https://v8.1c.ru/cpm/poleznye-materialy/presentations/</a:t>
              </a: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Видео: 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8"/>
                </a:rPr>
                <a:t>https://v8.1c.ru/cpm/poleznye-materialy/video/</a:t>
              </a: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Наиболее интересные внедрения: 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9"/>
                </a:rPr>
                <a:t>https://v8.1c.ru/cpm/istorii-uspekha/</a:t>
              </a: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hlinkClick r:id="rId1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sng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11"/>
                </a:rPr>
                <a:t>Канал линейки продуктов «1С:Управление холдингом» на </a:t>
              </a:r>
              <a:r>
                <a:rPr kumimoji="0" lang="en-US" sz="1800" b="0" i="0" u="sng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11"/>
                </a:rPr>
                <a:t>YouTube</a:t>
              </a:r>
              <a:endParaRPr kumimoji="0" lang="ru-RU" sz="18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4" name="Группа 3"/>
          <p:cNvGrpSpPr/>
          <p:nvPr/>
        </p:nvGrpSpPr>
        <p:grpSpPr>
          <a:xfrm>
            <a:off x="3934389" y="966212"/>
            <a:ext cx="2838911" cy="1449854"/>
            <a:chOff x="3756544" y="966212"/>
            <a:chExt cx="2838911" cy="1449854"/>
          </a:xfrm>
        </p:grpSpPr>
        <p:sp>
          <p:nvSpPr>
            <p:cNvPr id="2" name="Овал 1"/>
            <p:cNvSpPr/>
            <p:nvPr/>
          </p:nvSpPr>
          <p:spPr bwMode="auto">
            <a:xfrm>
              <a:off x="3756544" y="966212"/>
              <a:ext cx="1392213" cy="1441760"/>
            </a:xfrm>
            <a:prstGeom prst="ellipse">
              <a:avLst/>
            </a:prstGeom>
            <a:solidFill>
              <a:srgbClr val="92D050">
                <a:alpha val="75000"/>
              </a:srgbClr>
            </a:solidFill>
            <a:ln>
              <a:noFill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indent="-381000" algn="l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buFontTx/>
                <a:buBlip>
                  <a:blip r:embed="rId12"/>
                </a:buBlip>
                <a:tabLst/>
              </a:pPr>
              <a:endParaRPr kumimoji="0" lang="ru-RU" sz="2100" b="0" i="0" u="none" strike="noStrike" cap="none" normalizeH="0" baseline="0">
                <a:ln>
                  <a:noFill/>
                </a:ln>
                <a:solidFill>
                  <a:srgbClr val="006600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" name="Овал 5"/>
            <p:cNvSpPr/>
            <p:nvPr/>
          </p:nvSpPr>
          <p:spPr bwMode="auto">
            <a:xfrm>
              <a:off x="4464893" y="974306"/>
              <a:ext cx="1392213" cy="1441760"/>
            </a:xfrm>
            <a:prstGeom prst="ellipse">
              <a:avLst/>
            </a:prstGeom>
            <a:solidFill>
              <a:srgbClr val="F3EA28">
                <a:alpha val="75000"/>
              </a:srgbClr>
            </a:solidFill>
            <a:ln>
              <a:noFill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indent="-381000" algn="l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buFontTx/>
                <a:buBlip>
                  <a:blip r:embed="rId12"/>
                </a:buBlip>
                <a:tabLst/>
              </a:pPr>
              <a:endParaRPr kumimoji="0" lang="ru-RU" sz="2100" b="0" i="0" u="none" strike="noStrike" cap="none" normalizeH="0" baseline="0">
                <a:ln>
                  <a:noFill/>
                </a:ln>
                <a:solidFill>
                  <a:srgbClr val="006600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" name="Овал 6"/>
            <p:cNvSpPr/>
            <p:nvPr/>
          </p:nvSpPr>
          <p:spPr bwMode="auto">
            <a:xfrm>
              <a:off x="5203242" y="974306"/>
              <a:ext cx="1392213" cy="1441760"/>
            </a:xfrm>
            <a:prstGeom prst="ellipse">
              <a:avLst/>
            </a:prstGeom>
            <a:solidFill>
              <a:srgbClr val="FC846B">
                <a:alpha val="75000"/>
              </a:srgbClr>
            </a:solidFill>
            <a:ln>
              <a:noFill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indent="-381000" algn="l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buFontTx/>
                <a:buBlip>
                  <a:blip r:embed="rId12"/>
                </a:buBlip>
                <a:tabLst/>
              </a:pPr>
              <a:endParaRPr kumimoji="0" lang="ru-RU" sz="2100" b="0" i="0" u="none" strike="noStrike" cap="none" normalizeH="0" baseline="0">
                <a:ln>
                  <a:noFill/>
                </a:ln>
                <a:solidFill>
                  <a:srgbClr val="006600"/>
                </a:solidFill>
                <a:effectLst/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37483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"/>
          <p:cNvSpPr>
            <a:spLocks noChangeArrowheads="1"/>
          </p:cNvSpPr>
          <p:nvPr/>
        </p:nvSpPr>
        <p:spPr bwMode="auto">
          <a:xfrm>
            <a:off x="1728589" y="0"/>
            <a:ext cx="5112568" cy="11390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89" b="0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89" b="0" i="0" u="none" strike="noStrike" kern="1200" cap="none" spc="0" normalizeH="0" baseline="0" noProof="0" dirty="0" smtClean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трока плана закупок</a:t>
            </a:r>
            <a:r>
              <a:rPr kumimoji="0" lang="ru-RU" sz="1889" b="0" i="0" u="none" strike="noStrike" kern="1200" cap="none" spc="0" normalizeH="0" noProof="0" dirty="0" smtClean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/ покупка зерновых / основные сведения</a:t>
            </a: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89" b="0" i="0" u="none" strike="noStrike" kern="1200" cap="none" spc="0" normalizeH="0" baseline="0" noProof="0" dirty="0" smtClean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037" y="935831"/>
            <a:ext cx="10800000" cy="5434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2261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"/>
          <p:cNvSpPr>
            <a:spLocks noChangeArrowheads="1"/>
          </p:cNvSpPr>
          <p:nvPr/>
        </p:nvSpPr>
        <p:spPr bwMode="auto">
          <a:xfrm>
            <a:off x="1728589" y="0"/>
            <a:ext cx="6624736" cy="8773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89" b="0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89" b="0" i="0" u="none" strike="noStrike" kern="1200" cap="none" spc="0" normalizeH="0" baseline="0" noProof="0" dirty="0" smtClean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трока плана закупок</a:t>
            </a:r>
            <a:r>
              <a:rPr kumimoji="0" lang="ru-RU" sz="1889" b="0" i="0" u="none" strike="noStrike" kern="1200" cap="none" spc="0" normalizeH="0" noProof="0" dirty="0" smtClean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/ покупка зерновых / потребности</a:t>
            </a: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89" b="0" i="0" u="none" strike="noStrike" kern="1200" cap="none" spc="0" normalizeH="0" baseline="0" noProof="0" dirty="0" smtClean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2"/>
          <a:srcRect b="34926"/>
          <a:stretch/>
        </p:blipFill>
        <p:spPr>
          <a:xfrm>
            <a:off x="360437" y="1356256"/>
            <a:ext cx="10800000" cy="3756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3238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"/>
          <p:cNvSpPr>
            <a:spLocks noChangeArrowheads="1"/>
          </p:cNvSpPr>
          <p:nvPr/>
        </p:nvSpPr>
        <p:spPr bwMode="auto">
          <a:xfrm>
            <a:off x="1728589" y="0"/>
            <a:ext cx="5112568" cy="8773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89" b="0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89" b="0" i="0" u="none" strike="noStrike" kern="1200" cap="none" spc="0" normalizeH="0" baseline="0" noProof="0" dirty="0" smtClean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Закупочная процедура</a:t>
            </a:r>
            <a:r>
              <a:rPr kumimoji="0" lang="ru-RU" sz="1889" b="0" i="0" u="none" strike="noStrike" kern="1200" cap="none" spc="0" normalizeH="0" noProof="0" dirty="0" smtClean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/ покупка зерновых /</a:t>
            </a: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89" b="0" i="0" u="none" strike="noStrike" kern="1200" cap="none" spc="0" normalizeH="0" baseline="0" noProof="0" dirty="0" smtClean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037" y="1139030"/>
            <a:ext cx="10800000" cy="5025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1193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"/>
          <p:cNvSpPr>
            <a:spLocks noChangeArrowheads="1"/>
          </p:cNvSpPr>
          <p:nvPr/>
        </p:nvSpPr>
        <p:spPr bwMode="auto">
          <a:xfrm>
            <a:off x="1728589" y="0"/>
            <a:ext cx="5112568" cy="8773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89" b="0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89" b="0" i="0" u="none" strike="noStrike" kern="1200" cap="none" spc="0" normalizeH="0" baseline="0" noProof="0" dirty="0" smtClean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Закупочная процедура</a:t>
            </a:r>
            <a:r>
              <a:rPr kumimoji="0" lang="ru-RU" sz="1889" b="0" i="0" u="none" strike="noStrike" kern="1200" cap="none" spc="0" normalizeH="0" noProof="0" dirty="0" smtClean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/ покупка зерновых /</a:t>
            </a: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89" b="0" i="0" u="none" strike="noStrike" kern="1200" cap="none" spc="0" normalizeH="0" baseline="0" noProof="0" dirty="0" smtClean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037" y="935831"/>
            <a:ext cx="10800000" cy="2215588"/>
          </a:xfrm>
          <a:prstGeom prst="rect">
            <a:avLst/>
          </a:prstGeom>
        </p:spPr>
      </p:pic>
      <p:sp>
        <p:nvSpPr>
          <p:cNvPr id="7" name="Полилиния 6"/>
          <p:cNvSpPr/>
          <p:nvPr/>
        </p:nvSpPr>
        <p:spPr bwMode="auto">
          <a:xfrm>
            <a:off x="2712534" y="3345708"/>
            <a:ext cx="2028519" cy="684000"/>
          </a:xfrm>
          <a:custGeom>
            <a:avLst/>
            <a:gdLst>
              <a:gd name="connsiteX0" fmla="*/ 0 w 2647950"/>
              <a:gd name="connsiteY0" fmla="*/ 0 h 1619250"/>
              <a:gd name="connsiteX1" fmla="*/ 361950 w 2647950"/>
              <a:gd name="connsiteY1" fmla="*/ 704850 h 1619250"/>
              <a:gd name="connsiteX2" fmla="*/ 1190625 w 2647950"/>
              <a:gd name="connsiteY2" fmla="*/ 1143000 h 1619250"/>
              <a:gd name="connsiteX3" fmla="*/ 2647950 w 2647950"/>
              <a:gd name="connsiteY3" fmla="*/ 1619250 h 1619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47950" h="1619250">
                <a:moveTo>
                  <a:pt x="0" y="0"/>
                </a:moveTo>
                <a:cubicBezTo>
                  <a:pt x="81756" y="257175"/>
                  <a:pt x="163513" y="514350"/>
                  <a:pt x="361950" y="704850"/>
                </a:cubicBezTo>
                <a:cubicBezTo>
                  <a:pt x="560387" y="895350"/>
                  <a:pt x="809625" y="990600"/>
                  <a:pt x="1190625" y="1143000"/>
                </a:cubicBezTo>
                <a:cubicBezTo>
                  <a:pt x="1571625" y="1295400"/>
                  <a:pt x="2109787" y="1457325"/>
                  <a:pt x="2647950" y="1619250"/>
                </a:cubicBezTo>
              </a:path>
            </a:pathLst>
          </a:custGeom>
          <a:ln w="41275">
            <a:solidFill>
              <a:srgbClr val="FC6E51"/>
            </a:solidFill>
            <a:tailEnd type="arrow"/>
          </a:ln>
          <a:extLst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81000" marR="0" indent="-381000" algn="l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buFontTx/>
              <a:buBlip>
                <a:blip r:embed="rId3"/>
              </a:buBlip>
              <a:tabLst/>
            </a:pPr>
            <a:endParaRPr kumimoji="0" lang="ru-RU" sz="2100" b="0" i="0" u="none" strike="noStrike" cap="none" normalizeH="0" baseline="0" smtClean="0">
              <a:ln>
                <a:noFill/>
              </a:ln>
              <a:solidFill>
                <a:srgbClr val="006600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68949" y="719807"/>
            <a:ext cx="6323809" cy="5304762"/>
          </a:xfrm>
          <a:prstGeom prst="rect">
            <a:avLst/>
          </a:prstGeom>
          <a:effectLst>
            <a:outerShdw blurRad="127000" dist="50800" dir="5400000" algn="ctr" rotWithShape="0">
              <a:srgbClr val="000000">
                <a:alpha val="43137"/>
              </a:srgbClr>
            </a:outerShdw>
          </a:effectLst>
        </p:spPr>
      </p:pic>
      <p:grpSp>
        <p:nvGrpSpPr>
          <p:cNvPr id="13" name="Группа 12"/>
          <p:cNvGrpSpPr/>
          <p:nvPr/>
        </p:nvGrpSpPr>
        <p:grpSpPr>
          <a:xfrm>
            <a:off x="361361" y="4868395"/>
            <a:ext cx="4475867" cy="1107996"/>
            <a:chOff x="361361" y="4868395"/>
            <a:chExt cx="4475867" cy="1107996"/>
          </a:xfrm>
        </p:grpSpPr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61361" y="5001691"/>
              <a:ext cx="1780952" cy="866667"/>
            </a:xfrm>
            <a:prstGeom prst="rect">
              <a:avLst/>
            </a:prstGeom>
          </p:spPr>
        </p:pic>
        <p:sp>
          <p:nvSpPr>
            <p:cNvPr id="11" name="TextBox 10"/>
            <p:cNvSpPr txBox="1"/>
            <p:nvPr/>
          </p:nvSpPr>
          <p:spPr>
            <a:xfrm>
              <a:off x="2142313" y="4868395"/>
              <a:ext cx="2694915" cy="11079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100" b="0" dirty="0" smtClean="0">
                  <a:solidFill>
                    <a:schemeClr val="tx1"/>
                  </a:solidFill>
                </a:rPr>
                <a:t>Допускает к закупкам поставщиков, готовых поставить только часть лота.</a:t>
              </a:r>
            </a:p>
            <a:p>
              <a:r>
                <a:rPr lang="ru-RU" sz="1100" b="0" dirty="0" smtClean="0">
                  <a:solidFill>
                    <a:schemeClr val="tx1"/>
                  </a:solidFill>
                </a:rPr>
                <a:t> </a:t>
              </a:r>
            </a:p>
            <a:p>
              <a:pPr algn="ctr"/>
              <a:r>
                <a:rPr lang="ru-RU" sz="1100" b="0" dirty="0" smtClean="0">
                  <a:solidFill>
                    <a:srgbClr val="FF0000"/>
                  </a:solidFill>
                </a:rPr>
                <a:t>Предложение поставщика может быть на часть позиций, но каждая позиция поставляется в полном объеме.</a:t>
              </a:r>
              <a:endParaRPr lang="ru-RU" sz="1100" b="0" dirty="0">
                <a:solidFill>
                  <a:srgbClr val="FF0000"/>
                </a:solidFill>
              </a:endParaRPr>
            </a:p>
          </p:txBody>
        </p:sp>
      </p:grpSp>
      <p:grpSp>
        <p:nvGrpSpPr>
          <p:cNvPr id="14" name="Группа 13"/>
          <p:cNvGrpSpPr/>
          <p:nvPr/>
        </p:nvGrpSpPr>
        <p:grpSpPr>
          <a:xfrm>
            <a:off x="2377655" y="2837410"/>
            <a:ext cx="287338" cy="287338"/>
            <a:chOff x="6176162" y="5681234"/>
            <a:chExt cx="287338" cy="287338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19340">
              <a:off x="6176162" y="5681234"/>
              <a:ext cx="287338" cy="287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" name="Равнобедренный треугольник 15"/>
            <p:cNvSpPr/>
            <p:nvPr/>
          </p:nvSpPr>
          <p:spPr>
            <a:xfrm rot="19500000">
              <a:off x="6260177" y="5758166"/>
              <a:ext cx="126000" cy="143853"/>
            </a:xfrm>
            <a:prstGeom prst="triangl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7" name="TextBox 16"/>
          <p:cNvSpPr txBox="1"/>
          <p:nvPr/>
        </p:nvSpPr>
        <p:spPr>
          <a:xfrm>
            <a:off x="1207277" y="3081323"/>
            <a:ext cx="131404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0" dirty="0" smtClean="0">
                <a:solidFill>
                  <a:schemeClr val="tx1"/>
                </a:solidFill>
              </a:rPr>
              <a:t>Двойной клик мышкой по лоту</a:t>
            </a:r>
            <a:endParaRPr lang="ru-RU" sz="1100" b="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90127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"/>
          <p:cNvSpPr>
            <a:spLocks noChangeArrowheads="1"/>
          </p:cNvSpPr>
          <p:nvPr/>
        </p:nvSpPr>
        <p:spPr bwMode="auto">
          <a:xfrm>
            <a:off x="1728589" y="0"/>
            <a:ext cx="5112568" cy="8773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89" b="0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89" b="0" i="0" u="none" strike="noStrike" kern="1200" cap="none" spc="0" normalizeH="0" noProof="0" dirty="0" smtClean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егистрация</a:t>
            </a:r>
            <a:r>
              <a:rPr lang="ru-RU" sz="1889" b="0" dirty="0" smtClean="0">
                <a:solidFill>
                  <a:srgbClr val="808080">
                    <a:lumMod val="50000"/>
                  </a:srgbClr>
                </a:solidFill>
                <a:cs typeface="Arial" panose="020B0604020202020204" pitchFamily="34" charset="0"/>
              </a:rPr>
              <a:t> предложений поставщиков</a:t>
            </a:r>
            <a:endParaRPr kumimoji="0" lang="ru-RU" sz="1889" b="0" i="0" u="none" strike="noStrike" kern="1200" cap="none" spc="0" normalizeH="0" noProof="0" dirty="0" smtClean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89" b="0" i="0" u="none" strike="noStrike" kern="1200" cap="none" spc="0" normalizeH="0" baseline="0" noProof="0" dirty="0" smtClean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791815"/>
            <a:ext cx="10800000" cy="2215588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56781" y="2246154"/>
            <a:ext cx="2769801" cy="448778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1984850" y="2465865"/>
            <a:ext cx="333746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rgbClr val="FF0000"/>
                </a:solidFill>
              </a:rPr>
              <a:t>1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450282" y="2119081"/>
            <a:ext cx="333746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rgbClr val="FF0000"/>
                </a:solidFill>
              </a:rPr>
              <a:t>2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841681" y="3996662"/>
            <a:ext cx="333746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rgbClr val="FF0000"/>
                </a:solidFill>
              </a:rPr>
              <a:t>3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64025" y="3083872"/>
            <a:ext cx="3672408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0" dirty="0" smtClean="0">
                <a:solidFill>
                  <a:schemeClr val="tx1"/>
                </a:solidFill>
              </a:rPr>
              <a:t>Предложения поставщиков удобно вводить </a:t>
            </a:r>
            <a:r>
              <a:rPr lang="ru-RU" sz="1400" b="0" dirty="0" smtClean="0">
                <a:solidFill>
                  <a:schemeClr val="tx1"/>
                </a:solidFill>
              </a:rPr>
              <a:t>на </a:t>
            </a:r>
            <a:r>
              <a:rPr lang="ru-RU" sz="1400" b="0" dirty="0" smtClean="0">
                <a:solidFill>
                  <a:schemeClr val="tx1"/>
                </a:solidFill>
              </a:rPr>
              <a:t>основании </a:t>
            </a:r>
            <a:r>
              <a:rPr lang="ru-RU" sz="1400" b="0" dirty="0" smtClean="0">
                <a:solidFill>
                  <a:schemeClr val="tx1"/>
                </a:solidFill>
              </a:rPr>
              <a:t>лота. </a:t>
            </a:r>
            <a:endParaRPr lang="ru-RU" sz="1400" b="0" dirty="0" smtClean="0">
              <a:solidFill>
                <a:schemeClr val="tx1"/>
              </a:solidFill>
            </a:endParaRPr>
          </a:p>
          <a:p>
            <a:endParaRPr lang="ru-RU" sz="1400" b="0" dirty="0" smtClean="0">
              <a:solidFill>
                <a:schemeClr val="tx1"/>
              </a:solidFill>
            </a:endParaRPr>
          </a:p>
          <a:p>
            <a:r>
              <a:rPr lang="ru-RU" sz="1400" b="0" dirty="0" smtClean="0">
                <a:solidFill>
                  <a:schemeClr val="tx1"/>
                </a:solidFill>
              </a:rPr>
              <a:t>В предложении поставщика для попозиционной закупки добавлена колонка «Не поставляется»</a:t>
            </a:r>
          </a:p>
          <a:p>
            <a:endParaRPr lang="ru-RU" sz="1400" b="0" dirty="0">
              <a:solidFill>
                <a:schemeClr val="tx1"/>
              </a:solidFill>
            </a:endParaRPr>
          </a:p>
          <a:p>
            <a:r>
              <a:rPr lang="ru-RU" sz="1400" b="0" dirty="0" smtClean="0">
                <a:solidFill>
                  <a:schemeClr val="tx1"/>
                </a:solidFill>
              </a:rPr>
              <a:t>Данные, доступные пользователю для редактирования, выделены </a:t>
            </a:r>
            <a:r>
              <a:rPr lang="ru-RU" sz="1400" b="0" dirty="0" smtClean="0">
                <a:solidFill>
                  <a:srgbClr val="00B050"/>
                </a:solidFill>
              </a:rPr>
              <a:t>зеленым цветом. </a:t>
            </a:r>
          </a:p>
          <a:p>
            <a:endParaRPr lang="ru-RU" sz="1400" b="0" dirty="0">
              <a:solidFill>
                <a:srgbClr val="00B050"/>
              </a:solidFill>
            </a:endParaRPr>
          </a:p>
          <a:p>
            <a:r>
              <a:rPr lang="ru-RU" sz="1400" b="0" dirty="0" smtClean="0">
                <a:solidFill>
                  <a:schemeClr val="tx1"/>
                </a:solidFill>
              </a:rPr>
              <a:t>При необходимости можно вернуться к начальным </a:t>
            </a:r>
            <a:r>
              <a:rPr lang="ru-RU" sz="1400" b="0" dirty="0" smtClean="0">
                <a:solidFill>
                  <a:schemeClr val="tx1"/>
                </a:solidFill>
              </a:rPr>
              <a:t>значениям </a:t>
            </a:r>
            <a:r>
              <a:rPr lang="ru-RU" sz="1400" b="0" dirty="0" smtClean="0">
                <a:solidFill>
                  <a:schemeClr val="tx1"/>
                </a:solidFill>
              </a:rPr>
              <a:t>нажав на кнопку «Заполнить по данным лота»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56840" y="2766105"/>
            <a:ext cx="7560000" cy="3714070"/>
          </a:xfrm>
          <a:prstGeom prst="rect">
            <a:avLst/>
          </a:prstGeom>
          <a:effectLst>
            <a:outerShdw blurRad="127000" dist="50800" dir="5400000" algn="ctr" rotWithShape="0">
              <a:srgbClr val="000000">
                <a:alpha val="43137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684667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"/>
          <p:cNvSpPr>
            <a:spLocks noChangeArrowheads="1"/>
          </p:cNvSpPr>
          <p:nvPr/>
        </p:nvSpPr>
        <p:spPr bwMode="auto">
          <a:xfrm>
            <a:off x="1728589" y="0"/>
            <a:ext cx="7200800" cy="8773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89" b="0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89" b="0" i="0" u="none" strike="noStrike" kern="1200" cap="none" spc="0" normalizeH="0" baseline="0" noProof="0" dirty="0" smtClean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токол выбора</a:t>
            </a:r>
            <a:r>
              <a:rPr lang="ru-RU" sz="1889" b="0" dirty="0" smtClean="0">
                <a:solidFill>
                  <a:srgbClr val="808080">
                    <a:lumMod val="50000"/>
                  </a:srgbClr>
                </a:solidFill>
                <a:cs typeface="Arial" panose="020B0604020202020204" pitchFamily="34" charset="0"/>
              </a:rPr>
              <a:t> / Предложения поставщиков перед оценкой</a:t>
            </a:r>
            <a:endParaRPr kumimoji="0" lang="ru-RU" sz="1889" b="0" i="0" u="none" strike="noStrike" kern="1200" cap="none" spc="0" normalizeH="0" noProof="0" dirty="0" smtClean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89" b="0" i="0" u="none" strike="noStrike" kern="1200" cap="none" spc="0" normalizeH="0" baseline="0" noProof="0" dirty="0" smtClean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8771553" y="1646614"/>
            <a:ext cx="2592288" cy="41857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tx1"/>
                </a:solidFill>
              </a:rPr>
              <a:t>Слева</a:t>
            </a:r>
            <a:r>
              <a:rPr lang="ru-RU" sz="1400" b="0" dirty="0" smtClean="0">
                <a:solidFill>
                  <a:schemeClr val="tx1"/>
                </a:solidFill>
              </a:rPr>
              <a:t> – лоты. При </a:t>
            </a:r>
            <a:r>
              <a:rPr lang="ru-RU" sz="1400" b="0" dirty="0" err="1" smtClean="0">
                <a:solidFill>
                  <a:schemeClr val="tx1"/>
                </a:solidFill>
              </a:rPr>
              <a:t>многолотовой</a:t>
            </a:r>
            <a:r>
              <a:rPr lang="ru-RU" sz="1400" b="0" dirty="0" smtClean="0">
                <a:solidFill>
                  <a:schemeClr val="tx1"/>
                </a:solidFill>
              </a:rPr>
              <a:t> закупке их несколько.</a:t>
            </a:r>
          </a:p>
          <a:p>
            <a:endParaRPr lang="ru-RU" sz="1400" b="0" dirty="0">
              <a:solidFill>
                <a:schemeClr val="tx1"/>
              </a:solidFill>
            </a:endParaRPr>
          </a:p>
          <a:p>
            <a:r>
              <a:rPr lang="ru-RU" sz="1400" dirty="0" smtClean="0">
                <a:solidFill>
                  <a:schemeClr val="tx1"/>
                </a:solidFill>
              </a:rPr>
              <a:t>Вверху</a:t>
            </a:r>
            <a:r>
              <a:rPr lang="ru-RU" sz="1400" b="0" dirty="0" smtClean="0">
                <a:solidFill>
                  <a:schemeClr val="tx1"/>
                </a:solidFill>
              </a:rPr>
              <a:t> –</a:t>
            </a:r>
          </a:p>
          <a:p>
            <a:r>
              <a:rPr lang="ru-RU" sz="1400" b="0" dirty="0" smtClean="0">
                <a:solidFill>
                  <a:schemeClr val="tx1"/>
                </a:solidFill>
              </a:rPr>
              <a:t>предложения поставщиков по лотам.</a:t>
            </a:r>
          </a:p>
          <a:p>
            <a:endParaRPr lang="ru-RU" sz="1400" b="0" dirty="0">
              <a:solidFill>
                <a:schemeClr val="tx1"/>
              </a:solidFill>
            </a:endParaRPr>
          </a:p>
          <a:p>
            <a:r>
              <a:rPr lang="ru-RU" sz="1400" dirty="0" smtClean="0">
                <a:solidFill>
                  <a:schemeClr val="tx1"/>
                </a:solidFill>
              </a:rPr>
              <a:t>Внизу</a:t>
            </a:r>
            <a:r>
              <a:rPr lang="ru-RU" sz="1400" b="0" dirty="0" smtClean="0">
                <a:solidFill>
                  <a:schemeClr val="tx1"/>
                </a:solidFill>
              </a:rPr>
              <a:t> – данные предложения конкретного поставщика до оценки. Не поставляемые позиции лота присутствуют, но не имеют количества и суммы.</a:t>
            </a:r>
          </a:p>
          <a:p>
            <a:endParaRPr lang="ru-RU" sz="1400" b="0" dirty="0" smtClean="0">
              <a:solidFill>
                <a:schemeClr val="tx1"/>
              </a:solidFill>
            </a:endParaRPr>
          </a:p>
          <a:p>
            <a:r>
              <a:rPr lang="ru-RU" sz="1400" b="0" dirty="0" smtClean="0">
                <a:solidFill>
                  <a:schemeClr val="tx1"/>
                </a:solidFill>
              </a:rPr>
              <a:t>Для </a:t>
            </a:r>
            <a:r>
              <a:rPr lang="ru-RU" sz="1400" b="0" dirty="0">
                <a:solidFill>
                  <a:schemeClr val="tx1"/>
                </a:solidFill>
              </a:rPr>
              <a:t>выхода на оценку </a:t>
            </a:r>
            <a:r>
              <a:rPr lang="ru-RU" sz="1400" b="0" dirty="0" smtClean="0">
                <a:solidFill>
                  <a:schemeClr val="tx1"/>
                </a:solidFill>
              </a:rPr>
              <a:t>нажмите </a:t>
            </a:r>
            <a:r>
              <a:rPr lang="ru-RU" sz="1400" b="0" dirty="0">
                <a:solidFill>
                  <a:schemeClr val="tx1"/>
                </a:solidFill>
              </a:rPr>
              <a:t>кнопку </a:t>
            </a:r>
            <a:endParaRPr lang="ru-RU" sz="1400" b="0" dirty="0" smtClean="0">
              <a:solidFill>
                <a:schemeClr val="tx1"/>
              </a:solidFill>
            </a:endParaRPr>
          </a:p>
          <a:p>
            <a:r>
              <a:rPr lang="ru-RU" sz="1400" b="0" dirty="0" smtClean="0">
                <a:solidFill>
                  <a:schemeClr val="tx1"/>
                </a:solidFill>
              </a:rPr>
              <a:t>«</a:t>
            </a:r>
            <a:r>
              <a:rPr lang="ru-RU" sz="1400" b="0" dirty="0">
                <a:solidFill>
                  <a:schemeClr val="tx1"/>
                </a:solidFill>
              </a:rPr>
              <a:t>Оценить по ценам»</a:t>
            </a:r>
          </a:p>
          <a:p>
            <a:endParaRPr lang="ru-RU" sz="1400" b="0" dirty="0" smtClean="0">
              <a:solidFill>
                <a:schemeClr val="tx1"/>
              </a:solidFill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0437" y="1295871"/>
            <a:ext cx="8280000" cy="4529647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 bwMode="auto">
          <a:xfrm>
            <a:off x="4873496" y="2231975"/>
            <a:ext cx="900000" cy="216024"/>
          </a:xfrm>
          <a:prstGeom prst="rect">
            <a:avLst/>
          </a:prstGeom>
          <a:noFill/>
          <a:ln w="285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81000" marR="0" indent="-381000" algn="l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buFontTx/>
              <a:buBlip>
                <a:blip r:embed="rId3"/>
              </a:buBlip>
              <a:tabLst/>
            </a:pPr>
            <a:endParaRPr kumimoji="0" lang="ru-RU" sz="2100" b="0" i="0" u="none" strike="noStrike" cap="none" normalizeH="0" baseline="0" smtClean="0">
              <a:ln>
                <a:noFill/>
              </a:ln>
              <a:solidFill>
                <a:srgbClr val="0066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 bwMode="auto">
          <a:xfrm>
            <a:off x="8771553" y="4824263"/>
            <a:ext cx="2592288" cy="792000"/>
          </a:xfrm>
          <a:prstGeom prst="rect">
            <a:avLst/>
          </a:prstGeom>
          <a:noFill/>
          <a:ln w="285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81000" marR="0" indent="-381000" algn="l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buFontTx/>
              <a:buBlip>
                <a:blip r:embed="rId3"/>
              </a:buBlip>
              <a:tabLst/>
            </a:pPr>
            <a:endParaRPr kumimoji="0" lang="ru-RU" sz="2100" b="0" i="0" u="none" strike="noStrike" cap="none" normalizeH="0" baseline="0" smtClean="0">
              <a:ln>
                <a:noFill/>
              </a:ln>
              <a:solidFill>
                <a:srgbClr val="006600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66825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3_Специальное оформление">
  <a:themeElements>
    <a:clrScheme name="3_Специальное оформле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_Специальное оформление">
      <a:majorFont>
        <a:latin typeface="Futura PT Demi"/>
        <a:ea typeface=""/>
        <a:cs typeface=""/>
      </a:majorFont>
      <a:minorFont>
        <a:latin typeface="Futura PT Dem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3_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4_Специальное оформление">
  <a:themeElements>
    <a:clrScheme name="4_Специальное оформле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Специальное оформление">
      <a:majorFont>
        <a:latin typeface="Futura PT Demi"/>
        <a:ea typeface=""/>
        <a:cs typeface=""/>
      </a:majorFont>
      <a:minorFont>
        <a:latin typeface="Futura PT Dem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4_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5_Специальное оформление">
  <a:themeElements>
    <a:clrScheme name="4_Специальное оформле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Специальное оформление">
      <a:majorFont>
        <a:latin typeface="Futura PT Demi"/>
        <a:ea typeface=""/>
        <a:cs typeface=""/>
      </a:majorFont>
      <a:minorFont>
        <a:latin typeface="Futura PT Dem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4_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Proxima Nova Lt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5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Proxima Nova Lt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6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Proxima Nova Lt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1667</TotalTime>
  <Words>1337</Words>
  <Application>Microsoft Office PowerPoint</Application>
  <PresentationFormat>Произвольный</PresentationFormat>
  <Paragraphs>211</Paragraphs>
  <Slides>35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5</vt:i4>
      </vt:variant>
    </vt:vector>
  </HeadingPairs>
  <TitlesOfParts>
    <vt:vector size="47" baseType="lpstr">
      <vt:lpstr>Arial</vt:lpstr>
      <vt:lpstr>Futura PT Demi</vt:lpstr>
      <vt:lpstr>Proxima Nova Lt</vt:lpstr>
      <vt:lpstr>Times New Roman</vt:lpstr>
      <vt:lpstr>Wingdings</vt:lpstr>
      <vt:lpstr>3_Специальное оформление</vt:lpstr>
      <vt:lpstr>4_Специальное оформление</vt:lpstr>
      <vt:lpstr>5_Специальное оформление</vt:lpstr>
      <vt:lpstr>4_Оформление по умолчанию</vt:lpstr>
      <vt:lpstr>5_Оформление по умолчанию</vt:lpstr>
      <vt:lpstr>6_Оформление по умолчанию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Кузора Игорь Вячеславович</dc:creator>
  <cp:lastModifiedBy>Попов Леонид Леонидович</cp:lastModifiedBy>
  <cp:revision>3616</cp:revision>
  <cp:lastPrinted>2015-05-12T12:08:53Z</cp:lastPrinted>
  <dcterms:created xsi:type="dcterms:W3CDTF">2004-06-25T18:36:23Z</dcterms:created>
  <dcterms:modified xsi:type="dcterms:W3CDTF">2020-12-22T12:47:40Z</dcterms:modified>
</cp:coreProperties>
</file>